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5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6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7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8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9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10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1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2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3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4.xml" ContentType="application/vnd.openxmlformats-officedocument.theme+xml"/>
  <Override PartName="/ppt/tags/tag1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16.xml" ContentType="application/vnd.openxmlformats-officedocument.theme+xml"/>
  <Override PartName="/ppt/tags/tag6.xml" ContentType="application/vnd.openxmlformats-officedocument.presentationml.tags+xml"/>
  <Override PartName="/ppt/theme/theme17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04" r:id="rId4"/>
    <p:sldMasterId id="2147483793" r:id="rId5"/>
    <p:sldMasterId id="2147483828" r:id="rId6"/>
    <p:sldMasterId id="2147483776" r:id="rId7"/>
    <p:sldMasterId id="2147483782" r:id="rId8"/>
    <p:sldMasterId id="2147483740" r:id="rId9"/>
    <p:sldMasterId id="2147483799" r:id="rId10"/>
    <p:sldMasterId id="2147483756" r:id="rId11"/>
    <p:sldMasterId id="2147483761" r:id="rId12"/>
    <p:sldMasterId id="2147483750" r:id="rId13"/>
    <p:sldMasterId id="2147483788" r:id="rId14"/>
    <p:sldMasterId id="2147483771" r:id="rId15"/>
    <p:sldMasterId id="2147483766" r:id="rId16"/>
    <p:sldMasterId id="2147483838" r:id="rId17"/>
    <p:sldMasterId id="2147483844" r:id="rId18"/>
    <p:sldMasterId id="2147483855" r:id="rId19"/>
  </p:sldMasterIdLst>
  <p:notesMasterIdLst>
    <p:notesMasterId r:id="rId33"/>
  </p:notesMasterIdLst>
  <p:sldIdLst>
    <p:sldId id="259" r:id="rId20"/>
    <p:sldId id="266" r:id="rId21"/>
    <p:sldId id="315" r:id="rId22"/>
    <p:sldId id="313" r:id="rId23"/>
    <p:sldId id="317" r:id="rId24"/>
    <p:sldId id="290" r:id="rId25"/>
    <p:sldId id="269" r:id="rId26"/>
    <p:sldId id="319" r:id="rId27"/>
    <p:sldId id="291" r:id="rId28"/>
    <p:sldId id="292" r:id="rId29"/>
    <p:sldId id="310" r:id="rId30"/>
    <p:sldId id="320" r:id="rId31"/>
    <p:sldId id="264" r:id="rId32"/>
  </p:sldIdLst>
  <p:sldSz cx="9144000" cy="5143500" type="screen16x9"/>
  <p:notesSz cx="6883400" cy="9906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54D"/>
    <a:srgbClr val="69D170"/>
    <a:srgbClr val="009E0B"/>
    <a:srgbClr val="CCC600"/>
    <a:srgbClr val="BD78FF"/>
    <a:srgbClr val="7A23CC"/>
    <a:srgbClr val="E86DB1"/>
    <a:srgbClr val="B51F72"/>
    <a:srgbClr val="CC5200"/>
    <a:srgbClr val="FFF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Estilo Claro 3 - Ênfase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Estilo Claro 3 - Ênfase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2838BEF-8BB2-4498-84A7-C5851F593DF1}" styleName="Estilo Médio 4 - Ênfase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103" autoAdjust="0"/>
    <p:restoredTop sz="94427" autoAdjust="0"/>
  </p:normalViewPr>
  <p:slideViewPr>
    <p:cSldViewPr snapToObjects="1">
      <p:cViewPr varScale="1">
        <p:scale>
          <a:sx n="97" d="100"/>
          <a:sy n="97" d="100"/>
        </p:scale>
        <p:origin x="786" y="78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7.xml"/><Relationship Id="rId21" Type="http://schemas.openxmlformats.org/officeDocument/2006/relationships/slide" Target="slides/slide2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6.xml"/><Relationship Id="rId33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5326641319220974E-2"/>
          <c:y val="9.0326811166584059E-2"/>
          <c:w val="0.89278354976013674"/>
          <c:h val="0.4684918934785186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INSTALAÇÃO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Plan1!$A$2:$A$17</c:f>
              <c:strCache>
                <c:ptCount val="15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</c:v>
                </c:pt>
                <c:pt idx="10">
                  <c:v>4T16</c:v>
                </c:pt>
                <c:pt idx="11">
                  <c:v>1T17</c:v>
                </c:pt>
                <c:pt idx="12">
                  <c:v>2T17</c:v>
                </c:pt>
                <c:pt idx="13">
                  <c:v>3T17</c:v>
                </c:pt>
                <c:pt idx="14">
                  <c:v>4T17</c:v>
                </c:pt>
              </c:strCache>
            </c:strRef>
          </c:cat>
          <c:val>
            <c:numRef>
              <c:f>Plan1!$B$3:$B$17</c:f>
              <c:numCache>
                <c:formatCode>#,##0</c:formatCode>
                <c:ptCount val="15"/>
                <c:pt idx="0">
                  <c:v>5.1069606410720008</c:v>
                </c:pt>
                <c:pt idx="1">
                  <c:v>7.203478825796001</c:v>
                </c:pt>
                <c:pt idx="2">
                  <c:v>5.546951135568162</c:v>
                </c:pt>
                <c:pt idx="3">
                  <c:v>3.4226964929242318</c:v>
                </c:pt>
                <c:pt idx="4">
                  <c:v>3.7166960308279582</c:v>
                </c:pt>
                <c:pt idx="5">
                  <c:v>2.8205984962963777</c:v>
                </c:pt>
                <c:pt idx="6">
                  <c:v>2.8023832935498283</c:v>
                </c:pt>
                <c:pt idx="7">
                  <c:v>3.2187412799999997</c:v>
                </c:pt>
                <c:pt idx="8">
                  <c:v>4.2373102205504045</c:v>
                </c:pt>
                <c:pt idx="9">
                  <c:v>5.5557779246066401</c:v>
                </c:pt>
                <c:pt idx="10">
                  <c:v>3.2108007691702944</c:v>
                </c:pt>
                <c:pt idx="11">
                  <c:v>3.8505051617730661</c:v>
                </c:pt>
                <c:pt idx="12">
                  <c:v>3.7120438400000002</c:v>
                </c:pt>
                <c:pt idx="13">
                  <c:v>3.3614790600000002</c:v>
                </c:pt>
                <c:pt idx="14">
                  <c:v>4.26483473333333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E5-47D2-B279-0FC948D8C19D}"/>
            </c:ext>
          </c:extLst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USO</c:v>
                </c:pt>
              </c:strCache>
            </c:strRef>
          </c:tx>
          <c:spPr>
            <a:pattFill prst="ltUpDiag">
              <a:fgClr>
                <a:schemeClr val="bg1">
                  <a:lumMod val="75000"/>
                </a:schemeClr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Plan1!$A$2:$A$17</c:f>
              <c:strCache>
                <c:ptCount val="15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</c:v>
                </c:pt>
                <c:pt idx="10">
                  <c:v>4T16</c:v>
                </c:pt>
                <c:pt idx="11">
                  <c:v>1T17</c:v>
                </c:pt>
                <c:pt idx="12">
                  <c:v>2T17</c:v>
                </c:pt>
                <c:pt idx="13">
                  <c:v>3T17</c:v>
                </c:pt>
                <c:pt idx="14">
                  <c:v>4T17</c:v>
                </c:pt>
              </c:strCache>
            </c:strRef>
          </c:cat>
          <c:val>
            <c:numRef>
              <c:f>Plan1!$C$2:$C$17</c:f>
              <c:numCache>
                <c:formatCode>#,##0</c:formatCode>
                <c:ptCount val="15"/>
                <c:pt idx="0">
                  <c:v>28.976210549876669</c:v>
                </c:pt>
                <c:pt idx="1">
                  <c:v>19.747771656886666</c:v>
                </c:pt>
                <c:pt idx="2">
                  <c:v>12.54202899893</c:v>
                </c:pt>
                <c:pt idx="3">
                  <c:v>8.1215548637000001</c:v>
                </c:pt>
                <c:pt idx="4">
                  <c:v>7.4223438173400007</c:v>
                </c:pt>
                <c:pt idx="5">
                  <c:v>5.3107245142900004</c:v>
                </c:pt>
                <c:pt idx="6">
                  <c:v>3.875719835215</c:v>
                </c:pt>
                <c:pt idx="7">
                  <c:v>2.9591336145500002</c:v>
                </c:pt>
                <c:pt idx="8">
                  <c:v>2.2343658583433328</c:v>
                </c:pt>
                <c:pt idx="9">
                  <c:v>5.5324309475647544</c:v>
                </c:pt>
                <c:pt idx="10">
                  <c:v>4.2657424436794145</c:v>
                </c:pt>
                <c:pt idx="11">
                  <c:v>3.2707777211421578</c:v>
                </c:pt>
                <c:pt idx="12">
                  <c:v>3.1833961168079266</c:v>
                </c:pt>
                <c:pt idx="13">
                  <c:v>2.9518516875813146</c:v>
                </c:pt>
                <c:pt idx="14">
                  <c:v>2.19919231872892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E5-47D2-B279-0FC948D8C19D}"/>
            </c:ext>
          </c:extLst>
        </c:ser>
        <c:ser>
          <c:idx val="2"/>
          <c:order val="2"/>
          <c:tx>
            <c:strRef>
              <c:f>Plan1!$D$1</c:f>
              <c:strCache>
                <c:ptCount val="1"/>
                <c:pt idx="0">
                  <c:v>SMS</c:v>
                </c:pt>
              </c:strCache>
            </c:strRef>
          </c:tx>
          <c:spPr>
            <a:solidFill>
              <a:srgbClr val="002060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Plan1!$A$2:$A$17</c:f>
              <c:strCache>
                <c:ptCount val="15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</c:v>
                </c:pt>
                <c:pt idx="10">
                  <c:v>4T16</c:v>
                </c:pt>
                <c:pt idx="11">
                  <c:v>1T17</c:v>
                </c:pt>
                <c:pt idx="12">
                  <c:v>2T17</c:v>
                </c:pt>
                <c:pt idx="13">
                  <c:v>3T17</c:v>
                </c:pt>
                <c:pt idx="14">
                  <c:v>4T17</c:v>
                </c:pt>
              </c:strCache>
            </c:strRef>
          </c:cat>
          <c:val>
            <c:numRef>
              <c:f>Plan1!$D$2:$D$17</c:f>
              <c:numCache>
                <c:formatCode>#,##0</c:formatCode>
                <c:ptCount val="15"/>
                <c:pt idx="0">
                  <c:v>6.7676839525087376</c:v>
                </c:pt>
                <c:pt idx="1">
                  <c:v>6.7676839525087376</c:v>
                </c:pt>
                <c:pt idx="2">
                  <c:v>6.7676839525087376</c:v>
                </c:pt>
                <c:pt idx="3">
                  <c:v>6.2100235976153462</c:v>
                </c:pt>
                <c:pt idx="4">
                  <c:v>6.4733351492307305</c:v>
                </c:pt>
                <c:pt idx="5">
                  <c:v>7.619693110680136</c:v>
                </c:pt>
                <c:pt idx="6">
                  <c:v>4.3964162460400358</c:v>
                </c:pt>
                <c:pt idx="7">
                  <c:v>6.0597132699999996</c:v>
                </c:pt>
                <c:pt idx="8">
                  <c:v>8.3377274063203686</c:v>
                </c:pt>
                <c:pt idx="9">
                  <c:v>5.9410361903703519</c:v>
                </c:pt>
                <c:pt idx="10">
                  <c:v>2.5841173368799981</c:v>
                </c:pt>
                <c:pt idx="11">
                  <c:v>1.6777036498099882</c:v>
                </c:pt>
                <c:pt idx="12">
                  <c:v>0.88238235259000053</c:v>
                </c:pt>
                <c:pt idx="13">
                  <c:v>0.5037315953399939</c:v>
                </c:pt>
                <c:pt idx="14">
                  <c:v>0.432880008179997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CE5-47D2-B279-0FC948D8C19D}"/>
            </c:ext>
          </c:extLst>
        </c:ser>
        <c:ser>
          <c:idx val="3"/>
          <c:order val="3"/>
          <c:tx>
            <c:strRef>
              <c:f>Plan1!$E$1</c:f>
              <c:strCache>
                <c:ptCount val="1"/>
                <c:pt idx="0">
                  <c:v>ATEND/ ODCs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Plan1!$A$2:$A$17</c:f>
              <c:strCache>
                <c:ptCount val="15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</c:v>
                </c:pt>
                <c:pt idx="10">
                  <c:v>4T16</c:v>
                </c:pt>
                <c:pt idx="11">
                  <c:v>1T17</c:v>
                </c:pt>
                <c:pt idx="12">
                  <c:v>2T17</c:v>
                </c:pt>
                <c:pt idx="13">
                  <c:v>3T17</c:v>
                </c:pt>
                <c:pt idx="14">
                  <c:v>4T17</c:v>
                </c:pt>
              </c:strCache>
            </c:strRef>
          </c:cat>
          <c:val>
            <c:numRef>
              <c:f>Plan1!$E$2:$E$17</c:f>
              <c:numCache>
                <c:formatCode>#,##0</c:formatCode>
                <c:ptCount val="15"/>
                <c:pt idx="0">
                  <c:v>9.8273200000000003</c:v>
                </c:pt>
                <c:pt idx="1">
                  <c:v>15.642894</c:v>
                </c:pt>
                <c:pt idx="2">
                  <c:v>14.665993</c:v>
                </c:pt>
                <c:pt idx="3">
                  <c:v>14.37135</c:v>
                </c:pt>
                <c:pt idx="4">
                  <c:v>16.307064</c:v>
                </c:pt>
                <c:pt idx="5">
                  <c:v>18.215717999999999</c:v>
                </c:pt>
                <c:pt idx="6">
                  <c:v>14.332592</c:v>
                </c:pt>
                <c:pt idx="7">
                  <c:v>9.3842189999999999</c:v>
                </c:pt>
                <c:pt idx="8">
                  <c:v>11.12472</c:v>
                </c:pt>
                <c:pt idx="9">
                  <c:v>7.99568294</c:v>
                </c:pt>
                <c:pt idx="10">
                  <c:v>5.2372690200000003</c:v>
                </c:pt>
                <c:pt idx="11">
                  <c:v>4.4213573499999992</c:v>
                </c:pt>
                <c:pt idx="12">
                  <c:v>5.7794030199999993</c:v>
                </c:pt>
                <c:pt idx="13">
                  <c:v>5.8098141099999996</c:v>
                </c:pt>
                <c:pt idx="14">
                  <c:v>6.3896879733333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CE5-47D2-B279-0FC948D8C1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83596064"/>
        <c:axId val="383599984"/>
      </c:barChart>
      <c:lineChart>
        <c:grouping val="standard"/>
        <c:varyColors val="0"/>
        <c:ser>
          <c:idx val="4"/>
          <c:order val="4"/>
          <c:tx>
            <c:strRef>
              <c:f>Plan1!$F$1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11"/>
              <c:layout>
                <c:manualLayout>
                  <c:x val="-4.1765102143125704E-2"/>
                  <c:y val="-0.143385469719548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3CE5-47D2-B279-0FC948D8C19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implon BP Regular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17</c:f>
              <c:strCache>
                <c:ptCount val="15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</c:v>
                </c:pt>
                <c:pt idx="10">
                  <c:v>4T16</c:v>
                </c:pt>
                <c:pt idx="11">
                  <c:v>1T17</c:v>
                </c:pt>
                <c:pt idx="12">
                  <c:v>2T17</c:v>
                </c:pt>
                <c:pt idx="13">
                  <c:v>3T17</c:v>
                </c:pt>
                <c:pt idx="14">
                  <c:v>4T17</c:v>
                </c:pt>
              </c:strCache>
            </c:strRef>
          </c:cat>
          <c:val>
            <c:numRef>
              <c:f>Plan1!$F$2:$F$17</c:f>
              <c:numCache>
                <c:formatCode>#,##0</c:formatCode>
                <c:ptCount val="15"/>
                <c:pt idx="0">
                  <c:v>50.678175143457402</c:v>
                </c:pt>
                <c:pt idx="1">
                  <c:v>49.361828435191406</c:v>
                </c:pt>
                <c:pt idx="2">
                  <c:v>39.522657087006898</c:v>
                </c:pt>
                <c:pt idx="3">
                  <c:v>32.125624954239576</c:v>
                </c:pt>
                <c:pt idx="4">
                  <c:v>33.919438997398686</c:v>
                </c:pt>
                <c:pt idx="5">
                  <c:v>33.966734121266512</c:v>
                </c:pt>
                <c:pt idx="6">
                  <c:v>25.407111374804867</c:v>
                </c:pt>
                <c:pt idx="7">
                  <c:v>21.621807164549999</c:v>
                </c:pt>
                <c:pt idx="8">
                  <c:v>25.934123485214108</c:v>
                </c:pt>
                <c:pt idx="9">
                  <c:v>25.024928002541746</c:v>
                </c:pt>
                <c:pt idx="10">
                  <c:v>15.297929569729709</c:v>
                </c:pt>
                <c:pt idx="11">
                  <c:v>13.22034388272521</c:v>
                </c:pt>
                <c:pt idx="12">
                  <c:v>13.557225329397927</c:v>
                </c:pt>
                <c:pt idx="13">
                  <c:v>12.691917416146106</c:v>
                </c:pt>
                <c:pt idx="14">
                  <c:v>13.2865950335755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E5-47D2-B279-0FC948D8C19D}"/>
            </c:ext>
          </c:extLst>
        </c:ser>
        <c:ser>
          <c:idx val="5"/>
          <c:order val="5"/>
          <c:tx>
            <c:strRef>
              <c:f>Plan1!$F$1</c:f>
              <c:strCache>
                <c:ptCount val="1"/>
                <c:pt idx="0">
                  <c:v>TOTAL</c:v>
                </c:pt>
              </c:strCache>
            </c:strRef>
          </c:tx>
          <c:spPr>
            <a:ln w="19050">
              <a:noFill/>
            </a:ln>
          </c:spPr>
          <c:marker>
            <c:symbol val="none"/>
          </c:marker>
          <c:cat>
            <c:strRef>
              <c:f>Plan1!$A$2:$A$17</c:f>
              <c:strCache>
                <c:ptCount val="15"/>
                <c:pt idx="0">
                  <c:v>2T14</c:v>
                </c:pt>
                <c:pt idx="1">
                  <c:v>3T14</c:v>
                </c:pt>
                <c:pt idx="2">
                  <c:v>4T14</c:v>
                </c:pt>
                <c:pt idx="3">
                  <c:v>1T15</c:v>
                </c:pt>
                <c:pt idx="4">
                  <c:v>2T15</c:v>
                </c:pt>
                <c:pt idx="5">
                  <c:v>3T15</c:v>
                </c:pt>
                <c:pt idx="6">
                  <c:v>4T15</c:v>
                </c:pt>
                <c:pt idx="7">
                  <c:v>1T16</c:v>
                </c:pt>
                <c:pt idx="8">
                  <c:v>2T16</c:v>
                </c:pt>
                <c:pt idx="9">
                  <c:v>3T16</c:v>
                </c:pt>
                <c:pt idx="10">
                  <c:v>4T16</c:v>
                </c:pt>
                <c:pt idx="11">
                  <c:v>1T17</c:v>
                </c:pt>
                <c:pt idx="12">
                  <c:v>2T17</c:v>
                </c:pt>
                <c:pt idx="13">
                  <c:v>3T17</c:v>
                </c:pt>
                <c:pt idx="14">
                  <c:v>4T17</c:v>
                </c:pt>
              </c:strCache>
            </c:strRef>
          </c:cat>
          <c:val>
            <c:numRef>
              <c:f>Plan1!$F$3:$F$16</c:f>
              <c:numCache>
                <c:formatCode>#,##0</c:formatCode>
                <c:ptCount val="14"/>
                <c:pt idx="0">
                  <c:v>50.678175143457402</c:v>
                </c:pt>
                <c:pt idx="1">
                  <c:v>49.361828435191406</c:v>
                </c:pt>
                <c:pt idx="2">
                  <c:v>39.522657087006898</c:v>
                </c:pt>
                <c:pt idx="3">
                  <c:v>32.125624954239576</c:v>
                </c:pt>
                <c:pt idx="4">
                  <c:v>33.919438997398686</c:v>
                </c:pt>
                <c:pt idx="5">
                  <c:v>33.966734121266512</c:v>
                </c:pt>
                <c:pt idx="6">
                  <c:v>25.407111374804867</c:v>
                </c:pt>
                <c:pt idx="7">
                  <c:v>21.621807164549999</c:v>
                </c:pt>
                <c:pt idx="8">
                  <c:v>25.934123485214108</c:v>
                </c:pt>
                <c:pt idx="9">
                  <c:v>25.024928002541746</c:v>
                </c:pt>
                <c:pt idx="10">
                  <c:v>15.297929569729709</c:v>
                </c:pt>
                <c:pt idx="11">
                  <c:v>13.22034388272521</c:v>
                </c:pt>
                <c:pt idx="12">
                  <c:v>13.557225329397927</c:v>
                </c:pt>
                <c:pt idx="13">
                  <c:v>12.6919174161461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3CE5-47D2-B279-0FC948D8C1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3596064"/>
        <c:axId val="383599984"/>
      </c:lineChart>
      <c:catAx>
        <c:axId val="3835960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83599984"/>
        <c:crosses val="autoZero"/>
        <c:auto val="1"/>
        <c:lblAlgn val="ctr"/>
        <c:lblOffset val="100"/>
        <c:tickLblSkip val="1"/>
        <c:noMultiLvlLbl val="0"/>
      </c:catAx>
      <c:valAx>
        <c:axId val="383599984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383596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4"/>
        <c:delete val="1"/>
      </c:legendEntry>
      <c:legendEntry>
        <c:idx val="5"/>
        <c:delete val="1"/>
      </c:legendEntry>
      <c:layout>
        <c:manualLayout>
          <c:xMode val="edge"/>
          <c:yMode val="edge"/>
          <c:x val="0"/>
          <c:y val="0.81224175932019049"/>
          <c:w val="0.99816032710103464"/>
          <c:h val="0.17535798283403162"/>
        </c:manualLayout>
      </c:layout>
      <c:overlay val="0"/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Simplon BP Regular" pitchFamily="2" charset="0"/>
        </a:defRPr>
      </a:pPr>
      <a:endParaRPr lang="pt-BR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0D4F297-A282-4AD8-9143-BF75F4B9A706}" type="doc">
      <dgm:prSet loTypeId="urn:microsoft.com/office/officeart/2005/8/layout/radial6" loCatId="relationship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pt-BR"/>
        </a:p>
      </dgm:t>
    </dgm:pt>
    <dgm:pt modelId="{F936D47F-F75B-4B8A-9B66-3D31D59D7C5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FMS</a:t>
          </a:r>
          <a:endParaRPr lang="pt-BR" dirty="0">
            <a:latin typeface="Simplon BP Regular" pitchFamily="2" charset="0"/>
          </a:endParaRPr>
        </a:p>
      </dgm:t>
    </dgm:pt>
    <dgm:pt modelId="{C1ED1626-E6B0-4E46-B0D1-20363ED3034D}" type="parTrans" cxnId="{9453A039-251E-4175-97FE-51A73E4A346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D8CFC0D6-60E7-41A2-A5B4-7CC3F729EEE2}" type="sibTrans" cxnId="{9453A039-251E-4175-97FE-51A73E4A346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E52CAC2C-AB3D-46DD-9F2B-537247046E0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DIGITAL</a:t>
          </a:r>
          <a:endParaRPr lang="pt-BR" dirty="0">
            <a:latin typeface="Simplon BP Regular" pitchFamily="2" charset="0"/>
          </a:endParaRPr>
        </a:p>
      </dgm:t>
    </dgm:pt>
    <dgm:pt modelId="{1306554D-2D0A-4436-AE2E-22B3E5EC244E}" type="parTrans" cxnId="{60411C65-C664-49F8-8E0B-2F06CB8CB6F7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1871812-F4A6-4515-8676-C5B2743538AD}" type="sibTrans" cxnId="{60411C65-C664-49F8-8E0B-2F06CB8CB6F7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4E49F4DF-0482-4AD7-B6A2-473A84C40427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CRÉDITO</a:t>
          </a:r>
          <a:endParaRPr lang="pt-BR" dirty="0">
            <a:latin typeface="Simplon BP Regular" pitchFamily="2" charset="0"/>
          </a:endParaRPr>
        </a:p>
      </dgm:t>
    </dgm:pt>
    <dgm:pt modelId="{ACBADD78-8D96-4BB7-80C6-FAD0C19D3F95}" type="parTrans" cxnId="{FBC15B3A-DE17-4B11-9375-4C4F2D869CC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423712B-6F7F-4AF3-BA06-444D9F7F8D31}" type="sibTrans" cxnId="{FBC15B3A-DE17-4B11-9375-4C4F2D869CC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D5338F0-2120-4F5A-B37E-7EDA7B42EBC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GINF</a:t>
          </a:r>
          <a:endParaRPr lang="pt-BR" dirty="0">
            <a:latin typeface="Simplon BP Regular" pitchFamily="2" charset="0"/>
          </a:endParaRPr>
        </a:p>
      </dgm:t>
    </dgm:pt>
    <dgm:pt modelId="{94A26CD1-01B6-481C-8D91-E6A41635536E}" type="parTrans" cxnId="{32617C68-993D-48C2-8D71-34D73AFCD2E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199765E0-0730-43B0-8A6D-EDB545F937D1}" type="sibTrans" cxnId="{32617C68-993D-48C2-8D71-34D73AFCD2E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1E3A58F-3C6C-421A-AD6E-3C398757ED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JEC</a:t>
          </a:r>
          <a:endParaRPr lang="pt-BR" dirty="0">
            <a:latin typeface="Simplon BP Regular" pitchFamily="2" charset="0"/>
          </a:endParaRPr>
        </a:p>
      </dgm:t>
    </dgm:pt>
    <dgm:pt modelId="{751C5216-7E39-4FAA-9F68-B5C6A3E04840}" type="parTrans" cxnId="{5C0D7E80-CFD9-4CA5-99D5-731CB48F9F5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E7D97A82-E4D6-49A1-A9E3-A44C16AB4FA5}" type="sibTrans" cxnId="{5C0D7E80-CFD9-4CA5-99D5-731CB48F9F5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DF8DB47-362D-48B8-B69C-1603389C340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TIVAÇÂO</a:t>
          </a:r>
          <a:endParaRPr lang="pt-BR" dirty="0">
            <a:latin typeface="Simplon BP Regular" pitchFamily="2" charset="0"/>
          </a:endParaRPr>
        </a:p>
      </dgm:t>
    </dgm:pt>
    <dgm:pt modelId="{9E4AE0B9-2D88-4B70-95D6-22DFACDB9BC8}" type="parTrans" cxnId="{8DB98C54-E1C5-4D23-BF3A-6807E2266D4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0E76E23F-6BFC-4C2B-AB5C-C5F0F0CFF447}" type="sibTrans" cxnId="{8DB98C54-E1C5-4D23-BF3A-6807E2266D4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64569F0-1A2D-4C33-96CC-015E9ABC78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VENDAS</a:t>
          </a:r>
          <a:endParaRPr lang="pt-BR" dirty="0">
            <a:latin typeface="Simplon BP Regular" pitchFamily="2" charset="0"/>
          </a:endParaRPr>
        </a:p>
      </dgm:t>
    </dgm:pt>
    <dgm:pt modelId="{23067318-3473-4F23-84B6-37D2D9FF9442}" type="parTrans" cxnId="{BF343A4A-03F2-4F0A-97DA-ACD253A58AF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99767DF-094F-44C6-870D-80DDE759D57A}" type="sibTrans" cxnId="{BF343A4A-03F2-4F0A-97DA-ACD253A58AF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6675002-99D3-4456-BB98-BAFEAB40E060}" type="pres">
      <dgm:prSet presAssocID="{60D4F297-A282-4AD8-9143-BF75F4B9A706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769BA255-6875-4FC9-AC82-56BD39CABFE7}" type="pres">
      <dgm:prSet presAssocID="{F936D47F-F75B-4B8A-9B66-3D31D59D7C53}" presName="centerShape" presStyleLbl="node0" presStyleIdx="0" presStyleCnt="1"/>
      <dgm:spPr/>
      <dgm:t>
        <a:bodyPr/>
        <a:lstStyle/>
        <a:p>
          <a:endParaRPr lang="pt-BR"/>
        </a:p>
      </dgm:t>
    </dgm:pt>
    <dgm:pt modelId="{2B4CAB2E-1A0B-4830-9298-A4369C6FF292}" type="pres">
      <dgm:prSet presAssocID="{E52CAC2C-AB3D-46DD-9F2B-537247046E0B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2DE1284-C931-4DD4-9300-B062F7D8E6C1}" type="pres">
      <dgm:prSet presAssocID="{E52CAC2C-AB3D-46DD-9F2B-537247046E0B}" presName="dummy" presStyleCnt="0"/>
      <dgm:spPr/>
    </dgm:pt>
    <dgm:pt modelId="{F7024BFF-B69F-4885-A06C-A990A1EC162F}" type="pres">
      <dgm:prSet presAssocID="{C1871812-F4A6-4515-8676-C5B2743538AD}" presName="sibTrans" presStyleLbl="sibTrans2D1" presStyleIdx="0" presStyleCnt="6"/>
      <dgm:spPr/>
      <dgm:t>
        <a:bodyPr/>
        <a:lstStyle/>
        <a:p>
          <a:endParaRPr lang="pt-BR"/>
        </a:p>
      </dgm:t>
    </dgm:pt>
    <dgm:pt modelId="{8D551815-3B6C-4805-8952-F91BF108D8F5}" type="pres">
      <dgm:prSet presAssocID="{C64569F0-1A2D-4C33-96CC-015E9ABC785E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45EE683-7A76-4220-BC10-AB36DF6639D8}" type="pres">
      <dgm:prSet presAssocID="{C64569F0-1A2D-4C33-96CC-015E9ABC785E}" presName="dummy" presStyleCnt="0"/>
      <dgm:spPr/>
    </dgm:pt>
    <dgm:pt modelId="{5B851C51-11B9-431E-9DFB-635E13DF604D}" type="pres">
      <dgm:prSet presAssocID="{599767DF-094F-44C6-870D-80DDE759D57A}" presName="sibTrans" presStyleLbl="sibTrans2D1" presStyleIdx="1" presStyleCnt="6"/>
      <dgm:spPr/>
      <dgm:t>
        <a:bodyPr/>
        <a:lstStyle/>
        <a:p>
          <a:endParaRPr lang="pt-BR"/>
        </a:p>
      </dgm:t>
    </dgm:pt>
    <dgm:pt modelId="{E96ED2BC-7F66-49BF-87BF-4063B76ECCE1}" type="pres">
      <dgm:prSet presAssocID="{FDF8DB47-362D-48B8-B69C-1603389C3404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DC95EBA-CE0A-4CB3-B41C-67AD8C722E39}" type="pres">
      <dgm:prSet presAssocID="{FDF8DB47-362D-48B8-B69C-1603389C3404}" presName="dummy" presStyleCnt="0"/>
      <dgm:spPr/>
    </dgm:pt>
    <dgm:pt modelId="{23956C06-BCDF-4AF7-99D0-0999AEFFC186}" type="pres">
      <dgm:prSet presAssocID="{0E76E23F-6BFC-4C2B-AB5C-C5F0F0CFF447}" presName="sibTrans" presStyleLbl="sibTrans2D1" presStyleIdx="2" presStyleCnt="6"/>
      <dgm:spPr/>
      <dgm:t>
        <a:bodyPr/>
        <a:lstStyle/>
        <a:p>
          <a:endParaRPr lang="pt-BR"/>
        </a:p>
      </dgm:t>
    </dgm:pt>
    <dgm:pt modelId="{B97EF70B-6154-410F-985C-9C1FE38BB469}" type="pres">
      <dgm:prSet presAssocID="{4E49F4DF-0482-4AD7-B6A2-473A84C40427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5BE2194-074C-4914-8F81-C02BC87D70F5}" type="pres">
      <dgm:prSet presAssocID="{4E49F4DF-0482-4AD7-B6A2-473A84C40427}" presName="dummy" presStyleCnt="0"/>
      <dgm:spPr/>
    </dgm:pt>
    <dgm:pt modelId="{928964B4-47FD-4BCD-9DAE-27ED367659A6}" type="pres">
      <dgm:prSet presAssocID="{9423712B-6F7F-4AF3-BA06-444D9F7F8D31}" presName="sibTrans" presStyleLbl="sibTrans2D1" presStyleIdx="3" presStyleCnt="6"/>
      <dgm:spPr/>
      <dgm:t>
        <a:bodyPr/>
        <a:lstStyle/>
        <a:p>
          <a:endParaRPr lang="pt-BR"/>
        </a:p>
      </dgm:t>
    </dgm:pt>
    <dgm:pt modelId="{FAEA06C7-9021-4548-862C-93C9F1ADC6E4}" type="pres">
      <dgm:prSet presAssocID="{5D5338F0-2120-4F5A-B37E-7EDA7B42EBC0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E2BB87E-DB82-432A-B391-455FF74776F3}" type="pres">
      <dgm:prSet presAssocID="{5D5338F0-2120-4F5A-B37E-7EDA7B42EBC0}" presName="dummy" presStyleCnt="0"/>
      <dgm:spPr/>
    </dgm:pt>
    <dgm:pt modelId="{C79B882E-7BAE-40E6-81B0-3918E9F61082}" type="pres">
      <dgm:prSet presAssocID="{199765E0-0730-43B0-8A6D-EDB545F937D1}" presName="sibTrans" presStyleLbl="sibTrans2D1" presStyleIdx="4" presStyleCnt="6"/>
      <dgm:spPr/>
      <dgm:t>
        <a:bodyPr/>
        <a:lstStyle/>
        <a:p>
          <a:endParaRPr lang="pt-BR"/>
        </a:p>
      </dgm:t>
    </dgm:pt>
    <dgm:pt modelId="{20365B38-D7BF-4500-88FE-AF174FA7A1EE}" type="pres">
      <dgm:prSet presAssocID="{71E3A58F-3C6C-421A-AD6E-3C398757EDB9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C18B7DD-8167-447F-B833-5A34BBF1BC8A}" type="pres">
      <dgm:prSet presAssocID="{71E3A58F-3C6C-421A-AD6E-3C398757EDB9}" presName="dummy" presStyleCnt="0"/>
      <dgm:spPr/>
    </dgm:pt>
    <dgm:pt modelId="{7871B322-3BEE-4A39-A74E-0743729EF641}" type="pres">
      <dgm:prSet presAssocID="{E7D97A82-E4D6-49A1-A9E3-A44C16AB4FA5}" presName="sibTrans" presStyleLbl="sibTrans2D1" presStyleIdx="5" presStyleCnt="6"/>
      <dgm:spPr/>
      <dgm:t>
        <a:bodyPr/>
        <a:lstStyle/>
        <a:p>
          <a:endParaRPr lang="pt-BR"/>
        </a:p>
      </dgm:t>
    </dgm:pt>
  </dgm:ptLst>
  <dgm:cxnLst>
    <dgm:cxn modelId="{41607AD3-4271-40E2-B02C-0FE3DE91DEF3}" type="presOf" srcId="{E7D97A82-E4D6-49A1-A9E3-A44C16AB4FA5}" destId="{7871B322-3BEE-4A39-A74E-0743729EF641}" srcOrd="0" destOrd="0" presId="urn:microsoft.com/office/officeart/2005/8/layout/radial6"/>
    <dgm:cxn modelId="{9453A039-251E-4175-97FE-51A73E4A3469}" srcId="{60D4F297-A282-4AD8-9143-BF75F4B9A706}" destId="{F936D47F-F75B-4B8A-9B66-3D31D59D7C53}" srcOrd="0" destOrd="0" parTransId="{C1ED1626-E6B0-4E46-B0D1-20363ED3034D}" sibTransId="{D8CFC0D6-60E7-41A2-A5B4-7CC3F729EEE2}"/>
    <dgm:cxn modelId="{FBC15B3A-DE17-4B11-9375-4C4F2D869CC9}" srcId="{F936D47F-F75B-4B8A-9B66-3D31D59D7C53}" destId="{4E49F4DF-0482-4AD7-B6A2-473A84C40427}" srcOrd="3" destOrd="0" parTransId="{ACBADD78-8D96-4BB7-80C6-FAD0C19D3F95}" sibTransId="{9423712B-6F7F-4AF3-BA06-444D9F7F8D31}"/>
    <dgm:cxn modelId="{6D6E5C34-8EA5-43B2-8263-02F869BCA3FC}" type="presOf" srcId="{71E3A58F-3C6C-421A-AD6E-3C398757EDB9}" destId="{20365B38-D7BF-4500-88FE-AF174FA7A1EE}" srcOrd="0" destOrd="0" presId="urn:microsoft.com/office/officeart/2005/8/layout/radial6"/>
    <dgm:cxn modelId="{76A0308A-573C-4148-AD1A-87350AFE1474}" type="presOf" srcId="{FDF8DB47-362D-48B8-B69C-1603389C3404}" destId="{E96ED2BC-7F66-49BF-87BF-4063B76ECCE1}" srcOrd="0" destOrd="0" presId="urn:microsoft.com/office/officeart/2005/8/layout/radial6"/>
    <dgm:cxn modelId="{1E5EFE86-51ED-4C5D-A76B-F0AD706564C5}" type="presOf" srcId="{4E49F4DF-0482-4AD7-B6A2-473A84C40427}" destId="{B97EF70B-6154-410F-985C-9C1FE38BB469}" srcOrd="0" destOrd="0" presId="urn:microsoft.com/office/officeart/2005/8/layout/radial6"/>
    <dgm:cxn modelId="{7C6A59FD-B73C-4A7F-A8DA-108061F34E29}" type="presOf" srcId="{599767DF-094F-44C6-870D-80DDE759D57A}" destId="{5B851C51-11B9-431E-9DFB-635E13DF604D}" srcOrd="0" destOrd="0" presId="urn:microsoft.com/office/officeart/2005/8/layout/radial6"/>
    <dgm:cxn modelId="{BF343A4A-03F2-4F0A-97DA-ACD253A58AF0}" srcId="{F936D47F-F75B-4B8A-9B66-3D31D59D7C53}" destId="{C64569F0-1A2D-4C33-96CC-015E9ABC785E}" srcOrd="1" destOrd="0" parTransId="{23067318-3473-4F23-84B6-37D2D9FF9442}" sibTransId="{599767DF-094F-44C6-870D-80DDE759D57A}"/>
    <dgm:cxn modelId="{8163E862-F5D7-4501-9396-0323AD3D8051}" type="presOf" srcId="{60D4F297-A282-4AD8-9143-BF75F4B9A706}" destId="{56675002-99D3-4456-BB98-BAFEAB40E060}" srcOrd="0" destOrd="0" presId="urn:microsoft.com/office/officeart/2005/8/layout/radial6"/>
    <dgm:cxn modelId="{32617C68-993D-48C2-8D71-34D73AFCD2EC}" srcId="{F936D47F-F75B-4B8A-9B66-3D31D59D7C53}" destId="{5D5338F0-2120-4F5A-B37E-7EDA7B42EBC0}" srcOrd="4" destOrd="0" parTransId="{94A26CD1-01B6-481C-8D91-E6A41635536E}" sibTransId="{199765E0-0730-43B0-8A6D-EDB545F937D1}"/>
    <dgm:cxn modelId="{60411C65-C664-49F8-8E0B-2F06CB8CB6F7}" srcId="{F936D47F-F75B-4B8A-9B66-3D31D59D7C53}" destId="{E52CAC2C-AB3D-46DD-9F2B-537247046E0B}" srcOrd="0" destOrd="0" parTransId="{1306554D-2D0A-4436-AE2E-22B3E5EC244E}" sibTransId="{C1871812-F4A6-4515-8676-C5B2743538AD}"/>
    <dgm:cxn modelId="{7BDE5518-4673-4BDA-944F-677E5CB4DF9E}" type="presOf" srcId="{C64569F0-1A2D-4C33-96CC-015E9ABC785E}" destId="{8D551815-3B6C-4805-8952-F91BF108D8F5}" srcOrd="0" destOrd="0" presId="urn:microsoft.com/office/officeart/2005/8/layout/radial6"/>
    <dgm:cxn modelId="{E39A408E-A015-488C-A8CE-DF32E9C9A058}" type="presOf" srcId="{0E76E23F-6BFC-4C2B-AB5C-C5F0F0CFF447}" destId="{23956C06-BCDF-4AF7-99D0-0999AEFFC186}" srcOrd="0" destOrd="0" presId="urn:microsoft.com/office/officeart/2005/8/layout/radial6"/>
    <dgm:cxn modelId="{D0AF22CB-19CA-4573-B1A2-0D2136E153A7}" type="presOf" srcId="{E52CAC2C-AB3D-46DD-9F2B-537247046E0B}" destId="{2B4CAB2E-1A0B-4830-9298-A4369C6FF292}" srcOrd="0" destOrd="0" presId="urn:microsoft.com/office/officeart/2005/8/layout/radial6"/>
    <dgm:cxn modelId="{5C0D7E80-CFD9-4CA5-99D5-731CB48F9F50}" srcId="{F936D47F-F75B-4B8A-9B66-3D31D59D7C53}" destId="{71E3A58F-3C6C-421A-AD6E-3C398757EDB9}" srcOrd="5" destOrd="0" parTransId="{751C5216-7E39-4FAA-9F68-B5C6A3E04840}" sibTransId="{E7D97A82-E4D6-49A1-A9E3-A44C16AB4FA5}"/>
    <dgm:cxn modelId="{3824BCC1-829D-4EA8-B262-95AA683E9E35}" type="presOf" srcId="{9423712B-6F7F-4AF3-BA06-444D9F7F8D31}" destId="{928964B4-47FD-4BCD-9DAE-27ED367659A6}" srcOrd="0" destOrd="0" presId="urn:microsoft.com/office/officeart/2005/8/layout/radial6"/>
    <dgm:cxn modelId="{680E9ADA-8AFB-4F64-89B3-4655DA3D012B}" type="presOf" srcId="{5D5338F0-2120-4F5A-B37E-7EDA7B42EBC0}" destId="{FAEA06C7-9021-4548-862C-93C9F1ADC6E4}" srcOrd="0" destOrd="0" presId="urn:microsoft.com/office/officeart/2005/8/layout/radial6"/>
    <dgm:cxn modelId="{C9365660-84FF-4406-9DBE-7A97C582F982}" type="presOf" srcId="{199765E0-0730-43B0-8A6D-EDB545F937D1}" destId="{C79B882E-7BAE-40E6-81B0-3918E9F61082}" srcOrd="0" destOrd="0" presId="urn:microsoft.com/office/officeart/2005/8/layout/radial6"/>
    <dgm:cxn modelId="{2C88E4E2-4EC9-48A1-B3BF-AC9165287713}" type="presOf" srcId="{C1871812-F4A6-4515-8676-C5B2743538AD}" destId="{F7024BFF-B69F-4885-A06C-A990A1EC162F}" srcOrd="0" destOrd="0" presId="urn:microsoft.com/office/officeart/2005/8/layout/radial6"/>
    <dgm:cxn modelId="{8DB98C54-E1C5-4D23-BF3A-6807E2266D40}" srcId="{F936D47F-F75B-4B8A-9B66-3D31D59D7C53}" destId="{FDF8DB47-362D-48B8-B69C-1603389C3404}" srcOrd="2" destOrd="0" parTransId="{9E4AE0B9-2D88-4B70-95D6-22DFACDB9BC8}" sibTransId="{0E76E23F-6BFC-4C2B-AB5C-C5F0F0CFF447}"/>
    <dgm:cxn modelId="{12B18B2C-3971-471A-A75C-CB525A70C662}" type="presOf" srcId="{F936D47F-F75B-4B8A-9B66-3D31D59D7C53}" destId="{769BA255-6875-4FC9-AC82-56BD39CABFE7}" srcOrd="0" destOrd="0" presId="urn:microsoft.com/office/officeart/2005/8/layout/radial6"/>
    <dgm:cxn modelId="{D8AB9617-FD11-4F7A-9557-AD7E72575808}" type="presParOf" srcId="{56675002-99D3-4456-BB98-BAFEAB40E060}" destId="{769BA255-6875-4FC9-AC82-56BD39CABFE7}" srcOrd="0" destOrd="0" presId="urn:microsoft.com/office/officeart/2005/8/layout/radial6"/>
    <dgm:cxn modelId="{83579654-F3DC-413B-B232-CA2C95047D58}" type="presParOf" srcId="{56675002-99D3-4456-BB98-BAFEAB40E060}" destId="{2B4CAB2E-1A0B-4830-9298-A4369C6FF292}" srcOrd="1" destOrd="0" presId="urn:microsoft.com/office/officeart/2005/8/layout/radial6"/>
    <dgm:cxn modelId="{E34D74DF-B646-4BA3-8DF2-BE0DFAA453F5}" type="presParOf" srcId="{56675002-99D3-4456-BB98-BAFEAB40E060}" destId="{42DE1284-C931-4DD4-9300-B062F7D8E6C1}" srcOrd="2" destOrd="0" presId="urn:microsoft.com/office/officeart/2005/8/layout/radial6"/>
    <dgm:cxn modelId="{6884DB57-DA29-447F-BF30-DC1A254A7676}" type="presParOf" srcId="{56675002-99D3-4456-BB98-BAFEAB40E060}" destId="{F7024BFF-B69F-4885-A06C-A990A1EC162F}" srcOrd="3" destOrd="0" presId="urn:microsoft.com/office/officeart/2005/8/layout/radial6"/>
    <dgm:cxn modelId="{22C13B09-9F4D-44BD-9CD2-3C3DF37C56DE}" type="presParOf" srcId="{56675002-99D3-4456-BB98-BAFEAB40E060}" destId="{8D551815-3B6C-4805-8952-F91BF108D8F5}" srcOrd="4" destOrd="0" presId="urn:microsoft.com/office/officeart/2005/8/layout/radial6"/>
    <dgm:cxn modelId="{860220A6-626C-444E-975D-2A4F5F8CC5A0}" type="presParOf" srcId="{56675002-99D3-4456-BB98-BAFEAB40E060}" destId="{A45EE683-7A76-4220-BC10-AB36DF6639D8}" srcOrd="5" destOrd="0" presId="urn:microsoft.com/office/officeart/2005/8/layout/radial6"/>
    <dgm:cxn modelId="{B7C10C7E-EEC2-481B-BEC2-50863D756584}" type="presParOf" srcId="{56675002-99D3-4456-BB98-BAFEAB40E060}" destId="{5B851C51-11B9-431E-9DFB-635E13DF604D}" srcOrd="6" destOrd="0" presId="urn:microsoft.com/office/officeart/2005/8/layout/radial6"/>
    <dgm:cxn modelId="{204F7890-5CE2-4D6F-9026-5D12A62B0589}" type="presParOf" srcId="{56675002-99D3-4456-BB98-BAFEAB40E060}" destId="{E96ED2BC-7F66-49BF-87BF-4063B76ECCE1}" srcOrd="7" destOrd="0" presId="urn:microsoft.com/office/officeart/2005/8/layout/radial6"/>
    <dgm:cxn modelId="{417ED7B0-8F6A-49D9-9679-4EAE47062486}" type="presParOf" srcId="{56675002-99D3-4456-BB98-BAFEAB40E060}" destId="{ADC95EBA-CE0A-4CB3-B41C-67AD8C722E39}" srcOrd="8" destOrd="0" presId="urn:microsoft.com/office/officeart/2005/8/layout/radial6"/>
    <dgm:cxn modelId="{7CE25B1C-5026-4EE2-8EA1-CCB9A2AE7B13}" type="presParOf" srcId="{56675002-99D3-4456-BB98-BAFEAB40E060}" destId="{23956C06-BCDF-4AF7-99D0-0999AEFFC186}" srcOrd="9" destOrd="0" presId="urn:microsoft.com/office/officeart/2005/8/layout/radial6"/>
    <dgm:cxn modelId="{1A818FD6-1C58-4FD3-9990-9CDE5D4BBF60}" type="presParOf" srcId="{56675002-99D3-4456-BB98-BAFEAB40E060}" destId="{B97EF70B-6154-410F-985C-9C1FE38BB469}" srcOrd="10" destOrd="0" presId="urn:microsoft.com/office/officeart/2005/8/layout/radial6"/>
    <dgm:cxn modelId="{3FD36F28-7719-4E29-A447-C7971FDE74C9}" type="presParOf" srcId="{56675002-99D3-4456-BB98-BAFEAB40E060}" destId="{45BE2194-074C-4914-8F81-C02BC87D70F5}" srcOrd="11" destOrd="0" presId="urn:microsoft.com/office/officeart/2005/8/layout/radial6"/>
    <dgm:cxn modelId="{500BCFE6-4CCD-414C-BBC8-6E31DD977E78}" type="presParOf" srcId="{56675002-99D3-4456-BB98-BAFEAB40E060}" destId="{928964B4-47FD-4BCD-9DAE-27ED367659A6}" srcOrd="12" destOrd="0" presId="urn:microsoft.com/office/officeart/2005/8/layout/radial6"/>
    <dgm:cxn modelId="{93B7D665-23C7-4381-B1E8-6CD0EE0C77F1}" type="presParOf" srcId="{56675002-99D3-4456-BB98-BAFEAB40E060}" destId="{FAEA06C7-9021-4548-862C-93C9F1ADC6E4}" srcOrd="13" destOrd="0" presId="urn:microsoft.com/office/officeart/2005/8/layout/radial6"/>
    <dgm:cxn modelId="{C77AEA7F-0D1C-439F-9022-F7B0C9678E96}" type="presParOf" srcId="{56675002-99D3-4456-BB98-BAFEAB40E060}" destId="{DE2BB87E-DB82-432A-B391-455FF74776F3}" srcOrd="14" destOrd="0" presId="urn:microsoft.com/office/officeart/2005/8/layout/radial6"/>
    <dgm:cxn modelId="{252A6D98-18AE-4C45-9312-54384FF0507F}" type="presParOf" srcId="{56675002-99D3-4456-BB98-BAFEAB40E060}" destId="{C79B882E-7BAE-40E6-81B0-3918E9F61082}" srcOrd="15" destOrd="0" presId="urn:microsoft.com/office/officeart/2005/8/layout/radial6"/>
    <dgm:cxn modelId="{636A94BD-3CF7-42E2-99EE-4353B2CB9FE8}" type="presParOf" srcId="{56675002-99D3-4456-BB98-BAFEAB40E060}" destId="{20365B38-D7BF-4500-88FE-AF174FA7A1EE}" srcOrd="16" destOrd="0" presId="urn:microsoft.com/office/officeart/2005/8/layout/radial6"/>
    <dgm:cxn modelId="{6A4EA273-027D-4783-9C1E-2EFB4BB7D37B}" type="presParOf" srcId="{56675002-99D3-4456-BB98-BAFEAB40E060}" destId="{DC18B7DD-8167-447F-B833-5A34BBF1BC8A}" srcOrd="17" destOrd="0" presId="urn:microsoft.com/office/officeart/2005/8/layout/radial6"/>
    <dgm:cxn modelId="{4DA9DC7A-AF47-41B4-977D-F4092FAC7606}" type="presParOf" srcId="{56675002-99D3-4456-BB98-BAFEAB40E060}" destId="{7871B322-3BEE-4A39-A74E-0743729EF641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C5A65E6-2FFA-4D2C-95E0-A87A6D93410D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3FB8D5DA-DBBE-448C-83B0-D676CB8058DB}">
      <dgm:prSet phldrT="[Texto]" custT="1"/>
      <dgm:spPr/>
      <dgm:t>
        <a:bodyPr/>
        <a:lstStyle/>
        <a:p>
          <a:pPr algn="ctr"/>
          <a:r>
            <a:rPr lang="pt-BR" sz="1000" b="1" dirty="0" smtClean="0">
              <a:latin typeface="Simplon BP Regular" pitchFamily="2" charset="0"/>
            </a:rPr>
            <a:t>Motor Regras</a:t>
          </a:r>
          <a:endParaRPr lang="pt-BR" sz="1000" b="1" dirty="0">
            <a:latin typeface="Simplon BP Regular" pitchFamily="2" charset="0"/>
          </a:endParaRPr>
        </a:p>
      </dgm:t>
    </dgm:pt>
    <dgm:pt modelId="{60C3683B-3236-47EB-9B57-076123CB5512}" type="parTrans" cxnId="{93014FB2-D75F-47EC-9621-A26C3512ABAF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AD57D965-5860-4172-A876-55E952178053}" type="sibTrans" cxnId="{93014FB2-D75F-47EC-9621-A26C3512ABAF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76B38350-A147-4A01-AB45-3262A8B089FA}">
      <dgm:prSet phldrT="[Texto]" custT="1"/>
      <dgm:spPr/>
      <dgm:t>
        <a:bodyPr/>
        <a:lstStyle/>
        <a:p>
          <a:pPr algn="just"/>
          <a:r>
            <a:rPr lang="pt-BR" sz="900" b="0" dirty="0" smtClean="0">
              <a:latin typeface="Simplon BP Regular" pitchFamily="2" charset="0"/>
            </a:rPr>
            <a:t>Criação Regras Prevenção: Teste TV off-line</a:t>
          </a:r>
          <a:endParaRPr lang="pt-BR" sz="900" b="0" dirty="0">
            <a:latin typeface="Simplon BP Regular" pitchFamily="2" charset="0"/>
          </a:endParaRPr>
        </a:p>
      </dgm:t>
    </dgm:pt>
    <dgm:pt modelId="{8BE8DA77-A085-44D3-8956-1C3FFE66AAFF}" type="parTrans" cxnId="{BE73C0E6-B8DA-4CA4-A69A-7BC05FA6787B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FE8BB102-ACD9-4E42-8905-5D6A61D0D1F9}" type="sibTrans" cxnId="{BE73C0E6-B8DA-4CA4-A69A-7BC05FA6787B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63D04D2A-5CC2-4A77-A3C5-A19F29EBC8CA}">
      <dgm:prSet phldrT="[Texto]" custT="1"/>
      <dgm:spPr/>
      <dgm:t>
        <a:bodyPr/>
        <a:lstStyle/>
        <a:p>
          <a:pPr algn="ctr"/>
          <a:r>
            <a:rPr lang="pt-BR" sz="1050" b="1" dirty="0" smtClean="0">
              <a:latin typeface="Simplon BP Regular" pitchFamily="2" charset="0"/>
            </a:rPr>
            <a:t>Venda On-Line</a:t>
          </a:r>
          <a:endParaRPr lang="pt-BR" sz="1050" b="1" dirty="0">
            <a:latin typeface="Simplon BP Regular" pitchFamily="2" charset="0"/>
          </a:endParaRPr>
        </a:p>
      </dgm:t>
    </dgm:pt>
    <dgm:pt modelId="{C4FBDADF-8982-4589-98B5-DCE237D9C5AA}" type="parTrans" cxnId="{6836622F-855D-4ABC-85CA-0EB478035740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891CBAF4-3EDF-4D41-95DE-2050925FBC6E}" type="sibTrans" cxnId="{6836622F-855D-4ABC-85CA-0EB478035740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A9B213E7-143C-4C1A-93AC-E7A23BC350F6}">
      <dgm:prSet phldrT="[Texto]" custT="1"/>
      <dgm:spPr/>
      <dgm:t>
        <a:bodyPr/>
        <a:lstStyle/>
        <a:p>
          <a:pPr algn="just"/>
          <a:r>
            <a:rPr lang="pt-BR" sz="900" b="0" dirty="0" smtClean="0">
              <a:latin typeface="Simplon BP Regular" pitchFamily="2" charset="0"/>
            </a:rPr>
            <a:t>Migração por Produto e UF para Novo FMS</a:t>
          </a:r>
          <a:endParaRPr lang="pt-BR" sz="900" b="0" dirty="0">
            <a:latin typeface="Simplon BP Regular" pitchFamily="2" charset="0"/>
          </a:endParaRPr>
        </a:p>
      </dgm:t>
    </dgm:pt>
    <dgm:pt modelId="{41ADE714-D741-4C07-864E-ED5C5ACD78B0}" type="parTrans" cxnId="{065F7FF1-1EC2-4F56-B892-946E3FE1CE68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95A0C8F7-BFC4-4F41-9E28-A4350D50592B}" type="sibTrans" cxnId="{065F7FF1-1EC2-4F56-B892-946E3FE1CE68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A9AB3027-CE3E-49A7-B85B-A1C088E05B03}">
      <dgm:prSet phldrT="[Texto]" custT="1"/>
      <dgm:spPr/>
      <dgm:t>
        <a:bodyPr/>
        <a:lstStyle/>
        <a:p>
          <a:pPr algn="ctr"/>
          <a:r>
            <a:rPr lang="pt-BR" sz="1050" b="1" dirty="0" smtClean="0">
              <a:latin typeface="Simplon BP Regular" pitchFamily="2" charset="0"/>
            </a:rPr>
            <a:t>Integração </a:t>
          </a:r>
          <a:r>
            <a:rPr lang="pt-BR" sz="1050" b="1" dirty="0" err="1" smtClean="0">
              <a:latin typeface="Simplon BP Regular" pitchFamily="2" charset="0"/>
            </a:rPr>
            <a:t>CRMs</a:t>
          </a:r>
          <a:endParaRPr lang="pt-BR" sz="1050" b="1" dirty="0">
            <a:latin typeface="Simplon BP Regular" pitchFamily="2" charset="0"/>
          </a:endParaRPr>
        </a:p>
      </dgm:t>
    </dgm:pt>
    <dgm:pt modelId="{B823D111-D790-4782-A60F-3159C537330A}" type="parTrans" cxnId="{C585AED4-C685-4EEF-88E8-50928AA52373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A2F4903F-4447-4073-BB74-1C2B25306631}" type="sibTrans" cxnId="{C585AED4-C685-4EEF-88E8-50928AA52373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141E7F46-1828-4829-9E41-42409A1DCA07}">
      <dgm:prSet phldrT="[Texto]" custT="1"/>
      <dgm:spPr/>
      <dgm:t>
        <a:bodyPr/>
        <a:lstStyle/>
        <a:p>
          <a:pPr algn="ctr"/>
          <a:r>
            <a:rPr lang="pt-BR" sz="1050" b="1" dirty="0" smtClean="0">
              <a:latin typeface="Simplon BP Regular" pitchFamily="2" charset="0"/>
            </a:rPr>
            <a:t>Novas Integrações</a:t>
          </a:r>
          <a:endParaRPr lang="pt-BR" sz="1050" b="1" dirty="0">
            <a:latin typeface="Simplon BP Regular" pitchFamily="2" charset="0"/>
          </a:endParaRPr>
        </a:p>
      </dgm:t>
    </dgm:pt>
    <dgm:pt modelId="{EB86E41F-20DB-40BD-8182-A214FE8D24EC}" type="parTrans" cxnId="{FFB97E92-0119-4546-9389-D1596E4934F1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5CBD59BE-2893-4AFA-BBD1-F39872BD7518}" type="sibTrans" cxnId="{FFB97E92-0119-4546-9389-D1596E4934F1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21B78AE6-66FF-4DA4-B080-50DAA3C29B55}">
      <dgm:prSet phldrT="[Texto]" custT="1"/>
      <dgm:spPr/>
      <dgm:t>
        <a:bodyPr/>
        <a:lstStyle/>
        <a:p>
          <a:pPr algn="just"/>
          <a:r>
            <a:rPr lang="pt-BR" sz="900" b="0" u="none" dirty="0" smtClean="0">
              <a:latin typeface="Simplon BP Regular" pitchFamily="2" charset="0"/>
            </a:rPr>
            <a:t>Discador automático na URA (Oportunidade de automatizar bloqueio sem contato 20%  a 50% das derivações)</a:t>
          </a:r>
          <a:endParaRPr lang="pt-BR" sz="900" b="0" u="none" dirty="0">
            <a:latin typeface="Simplon BP Regular" pitchFamily="2" charset="0"/>
          </a:endParaRPr>
        </a:p>
      </dgm:t>
    </dgm:pt>
    <dgm:pt modelId="{B387C8D5-FA6D-4D01-91EF-A6501D5AE75A}" type="parTrans" cxnId="{129B3088-766E-4F24-A00E-2D3CE62F3625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DE00C647-2C4D-4095-B8C4-0DDAC7464F6C}" type="sibTrans" cxnId="{129B3088-766E-4F24-A00E-2D3CE62F3625}">
      <dgm:prSet/>
      <dgm:spPr/>
      <dgm:t>
        <a:bodyPr/>
        <a:lstStyle/>
        <a:p>
          <a:endParaRPr lang="pt-BR" sz="2400">
            <a:latin typeface="Simplon BP Regular" pitchFamily="2" charset="0"/>
          </a:endParaRPr>
        </a:p>
      </dgm:t>
    </dgm:pt>
    <dgm:pt modelId="{5FFAC092-85F8-40BA-861F-0817F770D223}">
      <dgm:prSet phldrT="[Texto]" custT="1"/>
      <dgm:spPr/>
      <dgm:t>
        <a:bodyPr/>
        <a:lstStyle/>
        <a:p>
          <a:pPr algn="just"/>
          <a:r>
            <a:rPr lang="pt-BR" sz="900" b="0" u="none" dirty="0" smtClean="0">
              <a:latin typeface="Simplon BP Regular" pitchFamily="2" charset="0"/>
            </a:rPr>
            <a:t>Telas p/ Operação de Crédito</a:t>
          </a:r>
          <a:endParaRPr lang="pt-BR" sz="900" b="0" u="none" dirty="0">
            <a:latin typeface="Simplon BP Regular" pitchFamily="2" charset="0"/>
          </a:endParaRPr>
        </a:p>
      </dgm:t>
    </dgm:pt>
    <dgm:pt modelId="{5E6DCEC4-C645-45F5-A438-1162CC1F52AC}" type="parTrans" cxnId="{98C7B6E1-B885-4F36-B73C-ACF7FED1DE9D}">
      <dgm:prSet/>
      <dgm:spPr/>
      <dgm:t>
        <a:bodyPr/>
        <a:lstStyle/>
        <a:p>
          <a:endParaRPr lang="pt-BR"/>
        </a:p>
      </dgm:t>
    </dgm:pt>
    <dgm:pt modelId="{E3AC0A48-66A4-4B9F-BA22-EE9858E97D6C}" type="sibTrans" cxnId="{98C7B6E1-B885-4F36-B73C-ACF7FED1DE9D}">
      <dgm:prSet/>
      <dgm:spPr/>
      <dgm:t>
        <a:bodyPr/>
        <a:lstStyle/>
        <a:p>
          <a:endParaRPr lang="pt-BR"/>
        </a:p>
      </dgm:t>
    </dgm:pt>
    <dgm:pt modelId="{F742CD09-CE9E-4BA2-A190-EDEFE22E5850}">
      <dgm:prSet phldrT="[Texto]" custT="1"/>
      <dgm:spPr/>
      <dgm:t>
        <a:bodyPr/>
        <a:lstStyle/>
        <a:p>
          <a:pPr algn="just"/>
          <a:r>
            <a:rPr lang="pt-BR" sz="900" b="0" u="none" dirty="0" smtClean="0">
              <a:latin typeface="Simplon BP Regular" pitchFamily="2" charset="0"/>
            </a:rPr>
            <a:t>10-20% Ganho Fim do </a:t>
          </a:r>
          <a:r>
            <a:rPr lang="pt-BR" sz="900" b="0" u="none" dirty="0" err="1" smtClean="0">
              <a:latin typeface="Simplon BP Regular" pitchFamily="2" charset="0"/>
            </a:rPr>
            <a:t>Copy</a:t>
          </a:r>
          <a:r>
            <a:rPr lang="pt-BR" sz="900" b="0" u="none" dirty="0" smtClean="0">
              <a:latin typeface="Simplon BP Regular" pitchFamily="2" charset="0"/>
            </a:rPr>
            <a:t> e Cola Front </a:t>
          </a:r>
          <a:r>
            <a:rPr lang="pt-BR" sz="900" b="0" u="none" dirty="0" err="1" smtClean="0">
              <a:latin typeface="Simplon BP Regular" pitchFamily="2" charset="0"/>
            </a:rPr>
            <a:t>End</a:t>
          </a:r>
          <a:endParaRPr lang="pt-BR" sz="900" b="0" u="none" dirty="0">
            <a:latin typeface="Simplon BP Regular" pitchFamily="2" charset="0"/>
          </a:endParaRPr>
        </a:p>
      </dgm:t>
    </dgm:pt>
    <dgm:pt modelId="{5B162C92-A02B-4EED-95FF-D991148F6741}" type="parTrans" cxnId="{DD350617-31B9-4438-9966-148B0D9407CE}">
      <dgm:prSet/>
      <dgm:spPr/>
      <dgm:t>
        <a:bodyPr/>
        <a:lstStyle/>
        <a:p>
          <a:endParaRPr lang="pt-BR"/>
        </a:p>
      </dgm:t>
    </dgm:pt>
    <dgm:pt modelId="{EF9D1C47-71A3-41FF-AE0F-7F2EFDDE8288}" type="sibTrans" cxnId="{DD350617-31B9-4438-9966-148B0D9407CE}">
      <dgm:prSet/>
      <dgm:spPr/>
      <dgm:t>
        <a:bodyPr/>
        <a:lstStyle/>
        <a:p>
          <a:endParaRPr lang="pt-BR"/>
        </a:p>
      </dgm:t>
    </dgm:pt>
    <dgm:pt modelId="{3EA4D5DC-8955-46F0-9CBD-D65349FCDE1F}">
      <dgm:prSet phldrT="[Texto]" custT="1"/>
      <dgm:spPr/>
      <dgm:t>
        <a:bodyPr/>
        <a:lstStyle/>
        <a:p>
          <a:pPr algn="just"/>
          <a:r>
            <a:rPr lang="pt-BR" sz="900" b="0" u="none" dirty="0" smtClean="0">
              <a:solidFill>
                <a:schemeClr val="tx1"/>
              </a:solidFill>
              <a:latin typeface="Simplon BP Regular" pitchFamily="2" charset="0"/>
            </a:rPr>
            <a:t>Aumento de Venda: Garantia de X tentativa de Contato por venda</a:t>
          </a:r>
          <a:endParaRPr lang="pt-BR" sz="900" b="0" u="none" dirty="0">
            <a:solidFill>
              <a:schemeClr val="tx1"/>
            </a:solidFill>
            <a:latin typeface="Simplon BP Regular" pitchFamily="2" charset="0"/>
          </a:endParaRPr>
        </a:p>
      </dgm:t>
    </dgm:pt>
    <dgm:pt modelId="{FDFA52AC-7A11-4CD5-856B-89E7FBA44928}" type="parTrans" cxnId="{BE82A017-0629-47B5-AAD1-B5940B7E1DD7}">
      <dgm:prSet/>
      <dgm:spPr/>
      <dgm:t>
        <a:bodyPr/>
        <a:lstStyle/>
        <a:p>
          <a:endParaRPr lang="pt-BR"/>
        </a:p>
      </dgm:t>
    </dgm:pt>
    <dgm:pt modelId="{60FD25C8-352C-464B-A336-F62E5A7C0F70}" type="sibTrans" cxnId="{BE82A017-0629-47B5-AAD1-B5940B7E1DD7}">
      <dgm:prSet/>
      <dgm:spPr/>
      <dgm:t>
        <a:bodyPr/>
        <a:lstStyle/>
        <a:p>
          <a:endParaRPr lang="pt-BR"/>
        </a:p>
      </dgm:t>
    </dgm:pt>
    <dgm:pt modelId="{6AE8E633-C200-450D-9829-DCF4B012B1B5}">
      <dgm:prSet phldrT="[Texto]" custT="1"/>
      <dgm:spPr/>
      <dgm:t>
        <a:bodyPr/>
        <a:lstStyle/>
        <a:p>
          <a:pPr algn="just"/>
          <a:r>
            <a:rPr lang="pt-BR" sz="900" b="0" dirty="0" err="1" smtClean="0">
              <a:latin typeface="Simplon BP Regular" pitchFamily="2" charset="0"/>
            </a:rPr>
            <a:t>Check</a:t>
          </a:r>
          <a:r>
            <a:rPr lang="pt-BR" sz="900" b="0" dirty="0" smtClean="0">
              <a:latin typeface="Simplon BP Regular" pitchFamily="2" charset="0"/>
            </a:rPr>
            <a:t> </a:t>
          </a:r>
          <a:r>
            <a:rPr lang="pt-BR" sz="900" b="0" dirty="0" err="1" smtClean="0">
              <a:latin typeface="Simplon BP Regular" pitchFamily="2" charset="0"/>
            </a:rPr>
            <a:t>List</a:t>
          </a:r>
          <a:r>
            <a:rPr lang="pt-BR" sz="900" b="0" dirty="0" smtClean="0">
              <a:latin typeface="Simplon BP Regular" pitchFamily="2" charset="0"/>
            </a:rPr>
            <a:t> Perguntas Matadoras por fila</a:t>
          </a:r>
          <a:endParaRPr lang="pt-BR" sz="900" b="0" dirty="0">
            <a:latin typeface="Simplon BP Regular" pitchFamily="2" charset="0"/>
          </a:endParaRPr>
        </a:p>
      </dgm:t>
    </dgm:pt>
    <dgm:pt modelId="{C6C42701-FA9A-42C8-971B-2E7F4B55431B}" type="parTrans" cxnId="{500EB006-07C5-4C9B-9438-1942CCD30697}">
      <dgm:prSet/>
      <dgm:spPr/>
      <dgm:t>
        <a:bodyPr/>
        <a:lstStyle/>
        <a:p>
          <a:endParaRPr lang="pt-BR"/>
        </a:p>
      </dgm:t>
    </dgm:pt>
    <dgm:pt modelId="{75A3358A-B511-4D7D-80BC-9EF9FEF1726C}" type="sibTrans" cxnId="{500EB006-07C5-4C9B-9438-1942CCD30697}">
      <dgm:prSet/>
      <dgm:spPr/>
      <dgm:t>
        <a:bodyPr/>
        <a:lstStyle/>
        <a:p>
          <a:endParaRPr lang="pt-BR"/>
        </a:p>
      </dgm:t>
    </dgm:pt>
    <dgm:pt modelId="{303BFC0C-51B8-473F-BC64-6DE3D93527E4}">
      <dgm:prSet phldrT="[Texto]" custT="1"/>
      <dgm:spPr/>
      <dgm:t>
        <a:bodyPr/>
        <a:lstStyle/>
        <a:p>
          <a:pPr algn="just"/>
          <a:r>
            <a:rPr lang="pt-BR" sz="900" b="0" dirty="0" err="1" smtClean="0">
              <a:latin typeface="Simplon BP Regular" pitchFamily="2" charset="0"/>
            </a:rPr>
            <a:t>Backtest</a:t>
          </a:r>
          <a:r>
            <a:rPr lang="pt-BR" sz="900" b="0" dirty="0" smtClean="0">
              <a:latin typeface="Simplon BP Regular" pitchFamily="2" charset="0"/>
            </a:rPr>
            <a:t> de aumento de derivação de novas regras</a:t>
          </a:r>
          <a:endParaRPr lang="pt-BR" sz="900" b="0" dirty="0">
            <a:latin typeface="Simplon BP Regular" pitchFamily="2" charset="0"/>
          </a:endParaRPr>
        </a:p>
      </dgm:t>
    </dgm:pt>
    <dgm:pt modelId="{F50C448E-AFA0-4BE5-8B1C-D840C3869E4D}" type="parTrans" cxnId="{6AC2A31B-A5AB-494E-B878-F190D298690E}">
      <dgm:prSet/>
      <dgm:spPr/>
      <dgm:t>
        <a:bodyPr/>
        <a:lstStyle/>
        <a:p>
          <a:endParaRPr lang="pt-BR"/>
        </a:p>
      </dgm:t>
    </dgm:pt>
    <dgm:pt modelId="{AB9365CF-3F03-4320-9195-4F71ACB20770}" type="sibTrans" cxnId="{6AC2A31B-A5AB-494E-B878-F190D298690E}">
      <dgm:prSet/>
      <dgm:spPr/>
      <dgm:t>
        <a:bodyPr/>
        <a:lstStyle/>
        <a:p>
          <a:endParaRPr lang="pt-BR"/>
        </a:p>
      </dgm:t>
    </dgm:pt>
    <dgm:pt modelId="{BD25F9B5-EED8-4731-8FF9-43EC8045D3EA}">
      <dgm:prSet phldrT="[Texto]" custT="1"/>
      <dgm:spPr/>
      <dgm:t>
        <a:bodyPr/>
        <a:lstStyle/>
        <a:p>
          <a:pPr algn="l"/>
          <a:endParaRPr lang="pt-BR" sz="900" dirty="0">
            <a:latin typeface="Simplon BP Regular" pitchFamily="2" charset="0"/>
          </a:endParaRPr>
        </a:p>
      </dgm:t>
    </dgm:pt>
    <dgm:pt modelId="{69A63399-6BA1-44FF-8CAD-4734194CF927}" type="parTrans" cxnId="{AB57EF20-0088-421E-B555-5F2DEB84985D}">
      <dgm:prSet/>
      <dgm:spPr/>
      <dgm:t>
        <a:bodyPr/>
        <a:lstStyle/>
        <a:p>
          <a:endParaRPr lang="pt-BR"/>
        </a:p>
      </dgm:t>
    </dgm:pt>
    <dgm:pt modelId="{BA20EE3C-D14F-4564-BA93-008D1C0DA279}" type="sibTrans" cxnId="{AB57EF20-0088-421E-B555-5F2DEB84985D}">
      <dgm:prSet/>
      <dgm:spPr/>
      <dgm:t>
        <a:bodyPr/>
        <a:lstStyle/>
        <a:p>
          <a:endParaRPr lang="pt-BR"/>
        </a:p>
      </dgm:t>
    </dgm:pt>
    <dgm:pt modelId="{5A1AF00F-7AEC-46D8-8D5B-2F05ACF2C849}">
      <dgm:prSet phldrT="[Texto]" custT="1"/>
      <dgm:spPr/>
      <dgm:t>
        <a:bodyPr/>
        <a:lstStyle/>
        <a:p>
          <a:pPr algn="l"/>
          <a:endParaRPr lang="pt-BR" sz="1000" dirty="0">
            <a:latin typeface="Simplon BP Regular" pitchFamily="2" charset="0"/>
          </a:endParaRPr>
        </a:p>
      </dgm:t>
    </dgm:pt>
    <dgm:pt modelId="{FAE421BF-28F1-449B-8C69-D0EFB4E0D01D}" type="parTrans" cxnId="{AC38F93C-CAF7-49B6-87A7-4E4BC2454E8A}">
      <dgm:prSet/>
      <dgm:spPr/>
      <dgm:t>
        <a:bodyPr/>
        <a:lstStyle/>
        <a:p>
          <a:endParaRPr lang="pt-BR"/>
        </a:p>
      </dgm:t>
    </dgm:pt>
    <dgm:pt modelId="{AC92FA6B-3418-4BE0-9EEF-93D14878F9DF}" type="sibTrans" cxnId="{AC38F93C-CAF7-49B6-87A7-4E4BC2454E8A}">
      <dgm:prSet/>
      <dgm:spPr/>
      <dgm:t>
        <a:bodyPr/>
        <a:lstStyle/>
        <a:p>
          <a:endParaRPr lang="pt-BR"/>
        </a:p>
      </dgm:t>
    </dgm:pt>
    <dgm:pt modelId="{96BDB3EE-979C-41EC-9C54-438601EC9A16}">
      <dgm:prSet phldrT="[Texto]" custT="1"/>
      <dgm:spPr/>
      <dgm:t>
        <a:bodyPr/>
        <a:lstStyle/>
        <a:p>
          <a:pPr algn="just"/>
          <a:r>
            <a:rPr lang="pt-BR" sz="900" b="0" u="none" dirty="0" smtClean="0">
              <a:latin typeface="Simplon BP Regular" pitchFamily="2" charset="0"/>
            </a:rPr>
            <a:t>Priorização de todos </a:t>
          </a:r>
          <a:r>
            <a:rPr lang="pt-BR" sz="900" b="0" u="none" dirty="0" err="1" smtClean="0">
              <a:latin typeface="Simplon BP Regular" pitchFamily="2" charset="0"/>
            </a:rPr>
            <a:t>tel</a:t>
          </a:r>
          <a:r>
            <a:rPr lang="pt-BR" sz="900" b="0" u="none" dirty="0" smtClean="0">
              <a:latin typeface="Simplon BP Regular" pitchFamily="2" charset="0"/>
            </a:rPr>
            <a:t> de contato</a:t>
          </a:r>
          <a:endParaRPr lang="pt-BR" sz="900" b="0" u="none" dirty="0">
            <a:latin typeface="Simplon BP Regular" pitchFamily="2" charset="0"/>
          </a:endParaRPr>
        </a:p>
      </dgm:t>
    </dgm:pt>
    <dgm:pt modelId="{210DB6B3-49C7-43BF-9D20-E0B94D237AC2}" type="parTrans" cxnId="{103D1576-EC3F-4894-9AC4-17569AABF8A6}">
      <dgm:prSet/>
      <dgm:spPr/>
      <dgm:t>
        <a:bodyPr/>
        <a:lstStyle/>
        <a:p>
          <a:endParaRPr lang="pt-BR"/>
        </a:p>
      </dgm:t>
    </dgm:pt>
    <dgm:pt modelId="{F300701E-C32D-400E-8E9F-3ADB11CBE517}" type="sibTrans" cxnId="{103D1576-EC3F-4894-9AC4-17569AABF8A6}">
      <dgm:prSet/>
      <dgm:spPr/>
      <dgm:t>
        <a:bodyPr/>
        <a:lstStyle/>
        <a:p>
          <a:endParaRPr lang="pt-BR"/>
        </a:p>
      </dgm:t>
    </dgm:pt>
    <dgm:pt modelId="{33278106-F829-4ABD-BC48-3E6049DD113E}">
      <dgm:prSet phldrT="[Texto]" custT="1"/>
      <dgm:spPr/>
      <dgm:t>
        <a:bodyPr/>
        <a:lstStyle/>
        <a:p>
          <a:pPr algn="just"/>
          <a:r>
            <a:rPr lang="pt-BR" sz="900" b="0" u="none" dirty="0" smtClean="0">
              <a:latin typeface="Simplon BP Regular" pitchFamily="2" charset="0"/>
            </a:rPr>
            <a:t>Validação de toda TV ON-LINE (-3PAs TV)</a:t>
          </a:r>
          <a:endParaRPr lang="pt-BR" sz="900" b="0" u="none" dirty="0">
            <a:latin typeface="Simplon BP Regular" pitchFamily="2" charset="0"/>
          </a:endParaRPr>
        </a:p>
      </dgm:t>
    </dgm:pt>
    <dgm:pt modelId="{ED1AAFA2-FFE9-4284-91C1-7F9D47E6E1EA}" type="parTrans" cxnId="{6177E98A-60FD-4B35-A64C-227A096B7D7B}">
      <dgm:prSet/>
      <dgm:spPr/>
      <dgm:t>
        <a:bodyPr/>
        <a:lstStyle/>
        <a:p>
          <a:endParaRPr lang="pt-BR"/>
        </a:p>
      </dgm:t>
    </dgm:pt>
    <dgm:pt modelId="{1A852CC9-13D4-435A-8EB8-811CC1806B5D}" type="sibTrans" cxnId="{6177E98A-60FD-4B35-A64C-227A096B7D7B}">
      <dgm:prSet/>
      <dgm:spPr/>
      <dgm:t>
        <a:bodyPr/>
        <a:lstStyle/>
        <a:p>
          <a:endParaRPr lang="pt-BR"/>
        </a:p>
      </dgm:t>
    </dgm:pt>
    <dgm:pt modelId="{B4E72F4E-E840-49EC-B9DE-0AFB69233F6F}">
      <dgm:prSet phldrT="[Texto]" custT="1"/>
      <dgm:spPr/>
      <dgm:t>
        <a:bodyPr/>
        <a:lstStyle/>
        <a:p>
          <a:pPr algn="just"/>
          <a:r>
            <a:rPr lang="pt-BR" sz="900" b="0" u="none" dirty="0" smtClean="0">
              <a:latin typeface="Simplon BP Regular" pitchFamily="2" charset="0"/>
            </a:rPr>
            <a:t>Criação de SCORE POSITIVO (endereços e </a:t>
          </a:r>
          <a:r>
            <a:rPr lang="pt-BR" sz="900" b="0" u="none" dirty="0" err="1" smtClean="0">
              <a:latin typeface="Simplon BP Regular" pitchFamily="2" charset="0"/>
            </a:rPr>
            <a:t>tel</a:t>
          </a:r>
          <a:r>
            <a:rPr lang="pt-BR" sz="900" b="0" u="none" dirty="0" smtClean="0">
              <a:latin typeface="Simplon BP Regular" pitchFamily="2" charset="0"/>
            </a:rPr>
            <a:t> contato confiáveis p/ o CPF)</a:t>
          </a:r>
          <a:endParaRPr lang="pt-BR" sz="900" b="0" u="none" dirty="0">
            <a:latin typeface="Simplon BP Regular" pitchFamily="2" charset="0"/>
          </a:endParaRPr>
        </a:p>
      </dgm:t>
    </dgm:pt>
    <dgm:pt modelId="{C829A878-5947-459B-A598-608D70D88BD3}" type="parTrans" cxnId="{FFF341A0-6B39-4937-A099-7CA9AB70240F}">
      <dgm:prSet/>
      <dgm:spPr/>
      <dgm:t>
        <a:bodyPr/>
        <a:lstStyle/>
        <a:p>
          <a:endParaRPr lang="pt-BR"/>
        </a:p>
      </dgm:t>
    </dgm:pt>
    <dgm:pt modelId="{CD1A3217-75C7-4D8F-98B9-6CD6E1CC8019}" type="sibTrans" cxnId="{FFF341A0-6B39-4937-A099-7CA9AB70240F}">
      <dgm:prSet/>
      <dgm:spPr/>
      <dgm:t>
        <a:bodyPr/>
        <a:lstStyle/>
        <a:p>
          <a:endParaRPr lang="pt-BR"/>
        </a:p>
      </dgm:t>
    </dgm:pt>
    <dgm:pt modelId="{BEB6A9F6-98CB-4CF9-B044-68039426A2F2}">
      <dgm:prSet phldrT="[Texto]" custT="1"/>
      <dgm:spPr/>
      <dgm:t>
        <a:bodyPr/>
        <a:lstStyle/>
        <a:p>
          <a:pPr algn="just"/>
          <a:r>
            <a:rPr lang="pt-BR" sz="900" b="0" dirty="0" smtClean="0">
              <a:latin typeface="Simplon BP Regular" pitchFamily="2" charset="0"/>
            </a:rPr>
            <a:t>SMS Interativo reduz contato humano</a:t>
          </a:r>
          <a:endParaRPr lang="pt-BR" sz="900" b="0" dirty="0">
            <a:latin typeface="Simplon BP Regular" pitchFamily="2" charset="0"/>
          </a:endParaRPr>
        </a:p>
      </dgm:t>
    </dgm:pt>
    <dgm:pt modelId="{0A66EDA6-9A38-4833-B522-99D26F4E9681}" type="parTrans" cxnId="{4B26F5FD-418B-440B-AEB8-3C205207043E}">
      <dgm:prSet/>
      <dgm:spPr/>
      <dgm:t>
        <a:bodyPr/>
        <a:lstStyle/>
        <a:p>
          <a:endParaRPr lang="pt-BR"/>
        </a:p>
      </dgm:t>
    </dgm:pt>
    <dgm:pt modelId="{BD577AE4-A4CF-41CE-A230-DAF154511135}" type="sibTrans" cxnId="{4B26F5FD-418B-440B-AEB8-3C205207043E}">
      <dgm:prSet/>
      <dgm:spPr/>
      <dgm:t>
        <a:bodyPr/>
        <a:lstStyle/>
        <a:p>
          <a:endParaRPr lang="pt-BR"/>
        </a:p>
      </dgm:t>
    </dgm:pt>
    <dgm:pt modelId="{2088CCDF-5F2C-43E0-8E3F-196094174274}">
      <dgm:prSet phldrT="[Texto]" custT="1"/>
      <dgm:spPr/>
      <dgm:t>
        <a:bodyPr/>
        <a:lstStyle/>
        <a:p>
          <a:pPr algn="just"/>
          <a:r>
            <a:rPr lang="pt-BR" sz="900" b="0" dirty="0" smtClean="0">
              <a:latin typeface="Simplon BP Regular" pitchFamily="2" charset="0"/>
            </a:rPr>
            <a:t>Bureau de Cadastro ABR (integração receita federal, </a:t>
          </a:r>
          <a:r>
            <a:rPr lang="pt-BR" sz="900" b="0" dirty="0" err="1" smtClean="0">
              <a:latin typeface="Simplon BP Regular" pitchFamily="2" charset="0"/>
            </a:rPr>
            <a:t>pre-pago</a:t>
          </a:r>
          <a:r>
            <a:rPr lang="pt-BR" sz="900" b="0" dirty="0" smtClean="0">
              <a:latin typeface="Simplon BP Regular" pitchFamily="2" charset="0"/>
            </a:rPr>
            <a:t> outras operadoras, etc)</a:t>
          </a:r>
          <a:endParaRPr lang="pt-BR" sz="900" b="0" dirty="0">
            <a:latin typeface="Simplon BP Regular" pitchFamily="2" charset="0"/>
          </a:endParaRPr>
        </a:p>
      </dgm:t>
    </dgm:pt>
    <dgm:pt modelId="{C8969882-DD51-43FC-80F8-8EE3ED3DD4BF}" type="parTrans" cxnId="{D9C02EEB-60E3-4458-9431-018215A20C01}">
      <dgm:prSet/>
      <dgm:spPr/>
      <dgm:t>
        <a:bodyPr/>
        <a:lstStyle/>
        <a:p>
          <a:endParaRPr lang="pt-BR"/>
        </a:p>
      </dgm:t>
    </dgm:pt>
    <dgm:pt modelId="{B27F6B69-B856-4CAC-AC52-BF236268D0EE}" type="sibTrans" cxnId="{D9C02EEB-60E3-4458-9431-018215A20C01}">
      <dgm:prSet/>
      <dgm:spPr/>
      <dgm:t>
        <a:bodyPr/>
        <a:lstStyle/>
        <a:p>
          <a:endParaRPr lang="pt-BR"/>
        </a:p>
      </dgm:t>
    </dgm:pt>
    <dgm:pt modelId="{937DDEBD-0AE5-4D8F-A99F-88932C8ED257}">
      <dgm:prSet phldrT="[Texto]" custT="1"/>
      <dgm:spPr/>
      <dgm:t>
        <a:bodyPr/>
        <a:lstStyle/>
        <a:p>
          <a:pPr algn="just"/>
          <a:r>
            <a:rPr lang="pt-BR" sz="900" b="0" dirty="0" smtClean="0">
              <a:latin typeface="Simplon BP Regular" pitchFamily="2" charset="0"/>
            </a:rPr>
            <a:t>Controles de produtividade </a:t>
          </a:r>
          <a:r>
            <a:rPr lang="pt-BR" sz="900" b="0" dirty="0" err="1" smtClean="0">
              <a:latin typeface="Simplon BP Regular" pitchFamily="2" charset="0"/>
            </a:rPr>
            <a:t>Pas</a:t>
          </a:r>
          <a:r>
            <a:rPr lang="pt-BR" sz="900" b="0" dirty="0" smtClean="0">
              <a:latin typeface="Simplon BP Regular" pitchFamily="2" charset="0"/>
            </a:rPr>
            <a:t> On-Line</a:t>
          </a:r>
          <a:endParaRPr lang="pt-BR" sz="900" b="0" dirty="0">
            <a:latin typeface="Simplon BP Regular" pitchFamily="2" charset="0"/>
          </a:endParaRPr>
        </a:p>
      </dgm:t>
    </dgm:pt>
    <dgm:pt modelId="{27A8582B-7E4A-4A9A-BF91-8ED4E481FA46}" type="parTrans" cxnId="{1747C003-F787-40E5-84A6-7EF58CD881AC}">
      <dgm:prSet/>
      <dgm:spPr/>
      <dgm:t>
        <a:bodyPr/>
        <a:lstStyle/>
        <a:p>
          <a:endParaRPr lang="pt-BR"/>
        </a:p>
      </dgm:t>
    </dgm:pt>
    <dgm:pt modelId="{30714363-72B1-4659-98A9-96780B6396E6}" type="sibTrans" cxnId="{1747C003-F787-40E5-84A6-7EF58CD881AC}">
      <dgm:prSet/>
      <dgm:spPr/>
      <dgm:t>
        <a:bodyPr/>
        <a:lstStyle/>
        <a:p>
          <a:endParaRPr lang="pt-BR"/>
        </a:p>
      </dgm:t>
    </dgm:pt>
    <dgm:pt modelId="{19E1F49C-E972-4B4B-995A-1DEBDC0DF708}">
      <dgm:prSet phldrT="[Texto]" custT="1"/>
      <dgm:spPr/>
      <dgm:t>
        <a:bodyPr/>
        <a:lstStyle/>
        <a:p>
          <a:pPr algn="just"/>
          <a:r>
            <a:rPr lang="pt-BR" sz="900" b="0" dirty="0" smtClean="0">
              <a:latin typeface="Simplon BP Regular" pitchFamily="2" charset="0"/>
            </a:rPr>
            <a:t> Informações unificadas do CPF de todos CRMS e inadimplência </a:t>
          </a:r>
          <a:endParaRPr lang="pt-BR" sz="900" b="0" dirty="0">
            <a:latin typeface="Simplon BP Regular" pitchFamily="2" charset="0"/>
          </a:endParaRPr>
        </a:p>
      </dgm:t>
    </dgm:pt>
    <dgm:pt modelId="{02E8C70C-7064-40DE-A7C3-73D28553F352}" type="parTrans" cxnId="{2C7050D6-4311-4D53-A0FE-9B326B836D83}">
      <dgm:prSet/>
      <dgm:spPr/>
      <dgm:t>
        <a:bodyPr/>
        <a:lstStyle/>
        <a:p>
          <a:endParaRPr lang="pt-BR"/>
        </a:p>
      </dgm:t>
    </dgm:pt>
    <dgm:pt modelId="{1B0BE526-45F9-49E6-8C39-2ADE5B4A38E5}" type="sibTrans" cxnId="{2C7050D6-4311-4D53-A0FE-9B326B836D83}">
      <dgm:prSet/>
      <dgm:spPr/>
      <dgm:t>
        <a:bodyPr/>
        <a:lstStyle/>
        <a:p>
          <a:endParaRPr lang="pt-BR"/>
        </a:p>
      </dgm:t>
    </dgm:pt>
    <dgm:pt modelId="{81ECA798-7AED-4AF6-B53F-48F8C7CFE734}">
      <dgm:prSet phldrT="[Texto]" custT="1"/>
      <dgm:spPr/>
      <dgm:t>
        <a:bodyPr/>
        <a:lstStyle/>
        <a:p>
          <a:pPr algn="just"/>
          <a:r>
            <a:rPr lang="pt-BR" sz="900" b="0" u="none" dirty="0" smtClean="0">
              <a:latin typeface="Simplon BP Regular" pitchFamily="2" charset="0"/>
            </a:rPr>
            <a:t>Negativa automática Propostas duplicadas (30%  propostas derivadas)</a:t>
          </a:r>
          <a:endParaRPr lang="pt-BR" sz="900" b="0" u="none" dirty="0">
            <a:latin typeface="Simplon BP Regular" pitchFamily="2" charset="0"/>
          </a:endParaRPr>
        </a:p>
      </dgm:t>
    </dgm:pt>
    <dgm:pt modelId="{EA827DC0-231C-4625-8D6D-77D64CAAEC3C}" type="parTrans" cxnId="{20A3DCEC-9E76-485D-BD44-6257FDC4CC46}">
      <dgm:prSet/>
      <dgm:spPr/>
      <dgm:t>
        <a:bodyPr/>
        <a:lstStyle/>
        <a:p>
          <a:endParaRPr lang="pt-BR"/>
        </a:p>
      </dgm:t>
    </dgm:pt>
    <dgm:pt modelId="{5284CCB4-7731-448B-8D41-B49851655B9B}" type="sibTrans" cxnId="{20A3DCEC-9E76-485D-BD44-6257FDC4CC46}">
      <dgm:prSet/>
      <dgm:spPr/>
      <dgm:t>
        <a:bodyPr/>
        <a:lstStyle/>
        <a:p>
          <a:endParaRPr lang="pt-BR"/>
        </a:p>
      </dgm:t>
    </dgm:pt>
    <dgm:pt modelId="{C8E7E625-4BC1-45E5-91E3-9FE591B32248}">
      <dgm:prSet phldrT="[Texto]" custT="1"/>
      <dgm:spPr/>
      <dgm:t>
        <a:bodyPr/>
        <a:lstStyle/>
        <a:p>
          <a:pPr algn="just"/>
          <a:r>
            <a:rPr lang="pt-BR" sz="900" b="0" dirty="0" smtClean="0">
              <a:latin typeface="Simplon BP Regular" pitchFamily="2" charset="0"/>
            </a:rPr>
            <a:t>Automatização analítico p/ aumentar prevenção</a:t>
          </a:r>
          <a:endParaRPr lang="pt-BR" sz="900" b="0" dirty="0">
            <a:latin typeface="Simplon BP Regular" pitchFamily="2" charset="0"/>
          </a:endParaRPr>
        </a:p>
      </dgm:t>
    </dgm:pt>
    <dgm:pt modelId="{45D48D6B-7702-4940-A49E-D40205F9854D}" type="parTrans" cxnId="{E916C204-90ED-4AC7-826F-9E9F4268C696}">
      <dgm:prSet/>
      <dgm:spPr/>
      <dgm:t>
        <a:bodyPr/>
        <a:lstStyle/>
        <a:p>
          <a:endParaRPr lang="pt-BR"/>
        </a:p>
      </dgm:t>
    </dgm:pt>
    <dgm:pt modelId="{1635602A-3269-483E-B481-B88A56630B3A}" type="sibTrans" cxnId="{E916C204-90ED-4AC7-826F-9E9F4268C696}">
      <dgm:prSet/>
      <dgm:spPr/>
      <dgm:t>
        <a:bodyPr/>
        <a:lstStyle/>
        <a:p>
          <a:endParaRPr lang="pt-BR"/>
        </a:p>
      </dgm:t>
    </dgm:pt>
    <dgm:pt modelId="{FFE6216B-CECB-4435-AC07-05EC5EBB4505}">
      <dgm:prSet phldrT="[Texto]" custT="1"/>
      <dgm:spPr/>
      <dgm:t>
        <a:bodyPr/>
        <a:lstStyle/>
        <a:p>
          <a:pPr algn="just"/>
          <a:r>
            <a:rPr lang="pt-BR" sz="900" b="0" u="none" dirty="0" smtClean="0">
              <a:latin typeface="Simplon BP Regular" pitchFamily="2" charset="0"/>
            </a:rPr>
            <a:t>Regras mais complexas e efetivas </a:t>
          </a:r>
          <a:r>
            <a:rPr lang="pt-BR" sz="900" b="0" dirty="0" smtClean="0">
              <a:latin typeface="Simplon BP Regular" pitchFamily="2" charset="0"/>
            </a:rPr>
            <a:t>(</a:t>
          </a:r>
          <a:r>
            <a:rPr lang="pt-BR" sz="900" b="0" dirty="0" err="1" smtClean="0">
              <a:latin typeface="Simplon BP Regular" pitchFamily="2" charset="0"/>
            </a:rPr>
            <a:t>Login</a:t>
          </a:r>
          <a:r>
            <a:rPr lang="pt-BR" sz="900" b="0" dirty="0" smtClean="0">
              <a:latin typeface="Simplon BP Regular" pitchFamily="2" charset="0"/>
            </a:rPr>
            <a:t> vendedor, Endereço, </a:t>
          </a:r>
          <a:r>
            <a:rPr lang="pt-BR" sz="900" b="0" dirty="0" err="1" smtClean="0">
              <a:latin typeface="Simplon BP Regular" pitchFamily="2" charset="0"/>
            </a:rPr>
            <a:t>Basona</a:t>
          </a:r>
          <a:r>
            <a:rPr lang="pt-BR" sz="900" b="0" dirty="0" smtClean="0">
              <a:latin typeface="Simplon BP Regular" pitchFamily="2" charset="0"/>
            </a:rPr>
            <a:t> Serasa, etc)</a:t>
          </a:r>
          <a:endParaRPr lang="pt-BR" sz="900" b="0" dirty="0">
            <a:latin typeface="Simplon BP Regular" pitchFamily="2" charset="0"/>
          </a:endParaRPr>
        </a:p>
      </dgm:t>
    </dgm:pt>
    <dgm:pt modelId="{41B48144-C58B-4916-BAF2-8AB594930699}" type="sibTrans" cxnId="{F27CCE21-8101-4E82-82D4-3865CCAA13F3}">
      <dgm:prSet/>
      <dgm:spPr/>
      <dgm:t>
        <a:bodyPr/>
        <a:lstStyle/>
        <a:p>
          <a:endParaRPr lang="pt-BR"/>
        </a:p>
      </dgm:t>
    </dgm:pt>
    <dgm:pt modelId="{ECABD0B3-F6A2-43D5-8E64-26A8388BA274}" type="parTrans" cxnId="{F27CCE21-8101-4E82-82D4-3865CCAA13F3}">
      <dgm:prSet/>
      <dgm:spPr/>
      <dgm:t>
        <a:bodyPr/>
        <a:lstStyle/>
        <a:p>
          <a:endParaRPr lang="pt-BR"/>
        </a:p>
      </dgm:t>
    </dgm:pt>
    <dgm:pt modelId="{AFB8A510-16C0-4E85-8385-970D9B524916}">
      <dgm:prSet phldrT="[Texto]" custT="1"/>
      <dgm:spPr/>
      <dgm:t>
        <a:bodyPr/>
        <a:lstStyle/>
        <a:p>
          <a:pPr algn="l"/>
          <a:endParaRPr lang="pt-BR" sz="700" dirty="0">
            <a:latin typeface="Simplon BP Regular" pitchFamily="2" charset="0"/>
          </a:endParaRPr>
        </a:p>
      </dgm:t>
    </dgm:pt>
    <dgm:pt modelId="{6717F9D9-8214-4CF1-9FE4-3D490E012978}" type="parTrans" cxnId="{890CD471-18A5-4E47-8732-2CCC609BF43C}">
      <dgm:prSet/>
      <dgm:spPr/>
      <dgm:t>
        <a:bodyPr/>
        <a:lstStyle/>
        <a:p>
          <a:endParaRPr lang="pt-BR"/>
        </a:p>
      </dgm:t>
    </dgm:pt>
    <dgm:pt modelId="{91E0DB1C-93C8-42EE-84EA-A49026204CCA}" type="sibTrans" cxnId="{890CD471-18A5-4E47-8732-2CCC609BF43C}">
      <dgm:prSet/>
      <dgm:spPr/>
      <dgm:t>
        <a:bodyPr/>
        <a:lstStyle/>
        <a:p>
          <a:endParaRPr lang="pt-BR"/>
        </a:p>
      </dgm:t>
    </dgm:pt>
    <dgm:pt modelId="{3D591B23-E883-40F6-B3A0-CB14101885FD}">
      <dgm:prSet phldrT="[Texto]" custT="1"/>
      <dgm:spPr/>
      <dgm:t>
        <a:bodyPr/>
        <a:lstStyle/>
        <a:p>
          <a:pPr algn="just"/>
          <a:r>
            <a:rPr lang="pt-BR" sz="900" b="0" dirty="0" smtClean="0">
              <a:latin typeface="Simplon BP Regular" pitchFamily="2" charset="0"/>
            </a:rPr>
            <a:t>Anomalia de </a:t>
          </a:r>
          <a:r>
            <a:rPr lang="pt-BR" sz="900" b="0" dirty="0" err="1" smtClean="0">
              <a:latin typeface="Simplon BP Regular" pitchFamily="2" charset="0"/>
            </a:rPr>
            <a:t>qtde</a:t>
          </a:r>
          <a:r>
            <a:rPr lang="pt-BR" sz="900" b="0" dirty="0" smtClean="0">
              <a:latin typeface="Simplon BP Regular" pitchFamily="2" charset="0"/>
            </a:rPr>
            <a:t> de produtos por Endereço, CPF, telefone de Contato.</a:t>
          </a:r>
          <a:endParaRPr lang="pt-BR" sz="900" b="0" dirty="0">
            <a:latin typeface="Simplon BP Regular" pitchFamily="2" charset="0"/>
          </a:endParaRPr>
        </a:p>
      </dgm:t>
    </dgm:pt>
    <dgm:pt modelId="{6BF72F57-47B0-43BA-9550-724F71BF0D46}" type="sibTrans" cxnId="{00ECBC18-3C56-4818-9170-2368572AB59E}">
      <dgm:prSet/>
      <dgm:spPr/>
      <dgm:t>
        <a:bodyPr/>
        <a:lstStyle/>
        <a:p>
          <a:endParaRPr lang="pt-BR"/>
        </a:p>
      </dgm:t>
    </dgm:pt>
    <dgm:pt modelId="{FB9B68F8-ECD6-4298-827C-DEBE02E5DD1F}" type="parTrans" cxnId="{00ECBC18-3C56-4818-9170-2368572AB59E}">
      <dgm:prSet/>
      <dgm:spPr/>
      <dgm:t>
        <a:bodyPr/>
        <a:lstStyle/>
        <a:p>
          <a:endParaRPr lang="pt-BR"/>
        </a:p>
      </dgm:t>
    </dgm:pt>
    <dgm:pt modelId="{492A9C47-E249-400B-949E-1EE927854CDC}">
      <dgm:prSet phldrT="[Texto]" custT="1"/>
      <dgm:spPr/>
      <dgm:t>
        <a:bodyPr/>
        <a:lstStyle/>
        <a:p>
          <a:pPr algn="just"/>
          <a:r>
            <a:rPr lang="pt-BR" sz="900" b="0" dirty="0" smtClean="0">
              <a:latin typeface="Simplon BP Regular" pitchFamily="2" charset="0"/>
            </a:rPr>
            <a:t>Score Externo</a:t>
          </a:r>
          <a:endParaRPr lang="pt-BR" sz="900" b="0" dirty="0">
            <a:latin typeface="Simplon BP Regular" pitchFamily="2" charset="0"/>
          </a:endParaRPr>
        </a:p>
      </dgm:t>
    </dgm:pt>
    <dgm:pt modelId="{FB2AB144-9E69-46D7-8F8E-8FAFDB68C6FF}" type="parTrans" cxnId="{AC44E9F9-C75B-4B17-A6A1-265B321B7D50}">
      <dgm:prSet/>
      <dgm:spPr/>
      <dgm:t>
        <a:bodyPr/>
        <a:lstStyle/>
        <a:p>
          <a:endParaRPr lang="pt-BR"/>
        </a:p>
      </dgm:t>
    </dgm:pt>
    <dgm:pt modelId="{34D4DE91-4A55-4765-BB1B-2191A54DD557}" type="sibTrans" cxnId="{AC44E9F9-C75B-4B17-A6A1-265B321B7D50}">
      <dgm:prSet/>
      <dgm:spPr/>
      <dgm:t>
        <a:bodyPr/>
        <a:lstStyle/>
        <a:p>
          <a:endParaRPr lang="pt-BR"/>
        </a:p>
      </dgm:t>
    </dgm:pt>
    <dgm:pt modelId="{ADF52812-5354-486F-AA0F-70CA2E42168A}" type="pres">
      <dgm:prSet presAssocID="{CC5A65E6-2FFA-4D2C-95E0-A87A6D93410D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4AF27D3-AB43-4EB0-9500-122A1344E88E}" type="pres">
      <dgm:prSet presAssocID="{CC5A65E6-2FFA-4D2C-95E0-A87A6D93410D}" presName="arrow" presStyleLbl="bgShp" presStyleIdx="0" presStyleCnt="1" custScaleY="69038" custLinFactNeighborY="-32368"/>
      <dgm:spPr/>
    </dgm:pt>
    <dgm:pt modelId="{8C96B9A8-E6F2-4B4D-9091-2F7246DC8D14}" type="pres">
      <dgm:prSet presAssocID="{CC5A65E6-2FFA-4D2C-95E0-A87A6D93410D}" presName="points" presStyleCnt="0"/>
      <dgm:spPr/>
    </dgm:pt>
    <dgm:pt modelId="{7409CF3F-05DA-4897-9437-A2229CF47579}" type="pres">
      <dgm:prSet presAssocID="{3FB8D5DA-DBBE-448C-83B0-D676CB8058DB}" presName="compositeA" presStyleCnt="0"/>
      <dgm:spPr/>
    </dgm:pt>
    <dgm:pt modelId="{AD9E265E-1972-4BA5-B612-18396B665CC9}" type="pres">
      <dgm:prSet presAssocID="{3FB8D5DA-DBBE-448C-83B0-D676CB8058DB}" presName="textA" presStyleLbl="revTx" presStyleIdx="0" presStyleCnt="4" custScaleX="128816" custScaleY="68705" custLinFactY="19299" custLinFactNeighborX="3121" custLinFactNeighborY="10000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1653F72-3EE7-4701-8574-F10FC3BC861B}" type="pres">
      <dgm:prSet presAssocID="{3FB8D5DA-DBBE-448C-83B0-D676CB8058DB}" presName="circleA" presStyleLbl="node1" presStyleIdx="0" presStyleCnt="4" custLinFactNeighborY="-97384"/>
      <dgm:spPr/>
    </dgm:pt>
    <dgm:pt modelId="{6912D883-D723-4F5B-9950-09EF22FF852C}" type="pres">
      <dgm:prSet presAssocID="{3FB8D5DA-DBBE-448C-83B0-D676CB8058DB}" presName="spaceA" presStyleCnt="0"/>
      <dgm:spPr/>
    </dgm:pt>
    <dgm:pt modelId="{70875331-A116-4631-9935-D74D0D130D8E}" type="pres">
      <dgm:prSet presAssocID="{AD57D965-5860-4172-A876-55E952178053}" presName="space" presStyleCnt="0"/>
      <dgm:spPr/>
    </dgm:pt>
    <dgm:pt modelId="{68F5EA40-6439-49E4-9366-64CC0486BDAB}" type="pres">
      <dgm:prSet presAssocID="{63D04D2A-5CC2-4A77-A3C5-A19F29EBC8CA}" presName="compositeB" presStyleCnt="0"/>
      <dgm:spPr/>
    </dgm:pt>
    <dgm:pt modelId="{7C18F256-F8B9-4D2D-BF5F-E9F6C61C004E}" type="pres">
      <dgm:prSet presAssocID="{63D04D2A-5CC2-4A77-A3C5-A19F29EBC8CA}" presName="textB" presStyleLbl="revTx" presStyleIdx="1" presStyleCnt="4" custScaleX="153981" custLinFactNeighborX="1524" custLinFactNeighborY="-41038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8735D89-E47A-492B-9770-825D1327D4FA}" type="pres">
      <dgm:prSet presAssocID="{63D04D2A-5CC2-4A77-A3C5-A19F29EBC8CA}" presName="circleB" presStyleLbl="node1" presStyleIdx="1" presStyleCnt="4" custLinFactY="-28679" custLinFactNeighborY="-100000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pt-BR"/>
        </a:p>
      </dgm:t>
    </dgm:pt>
    <dgm:pt modelId="{EE54CDD7-01E0-4706-90AD-04624470BF04}" type="pres">
      <dgm:prSet presAssocID="{63D04D2A-5CC2-4A77-A3C5-A19F29EBC8CA}" presName="spaceB" presStyleCnt="0"/>
      <dgm:spPr/>
    </dgm:pt>
    <dgm:pt modelId="{52BADF88-CAD1-4418-B6FC-4BC7B876AD87}" type="pres">
      <dgm:prSet presAssocID="{891CBAF4-3EDF-4D41-95DE-2050925FBC6E}" presName="space" presStyleCnt="0"/>
      <dgm:spPr/>
    </dgm:pt>
    <dgm:pt modelId="{319BDE20-DEB5-44E7-A95F-32C8D2633A53}" type="pres">
      <dgm:prSet presAssocID="{A9AB3027-CE3E-49A7-B85B-A1C088E05B03}" presName="compositeA" presStyleCnt="0"/>
      <dgm:spPr/>
    </dgm:pt>
    <dgm:pt modelId="{B5362C5E-2645-4305-AD4B-90C17CACB81D}" type="pres">
      <dgm:prSet presAssocID="{A9AB3027-CE3E-49A7-B85B-A1C088E05B03}" presName="textA" presStyleLbl="revTx" presStyleIdx="2" presStyleCnt="4" custScaleX="119371" custScaleY="69427" custLinFactY="11798" custLinFactNeighborX="8116" custLinFactNeighborY="10000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9D03AFA-B98A-4069-9E73-FF5AD3CD515D}" type="pres">
      <dgm:prSet presAssocID="{A9AB3027-CE3E-49A7-B85B-A1C088E05B03}" presName="circleA" presStyleLbl="node1" presStyleIdx="2" presStyleCnt="4" custLinFactNeighborX="12329" custLinFactNeighborY="-98106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pt-BR"/>
        </a:p>
      </dgm:t>
    </dgm:pt>
    <dgm:pt modelId="{8CFB6DEB-CA13-4E0A-9DE3-ED8F1513A6B4}" type="pres">
      <dgm:prSet presAssocID="{A9AB3027-CE3E-49A7-B85B-A1C088E05B03}" presName="spaceA" presStyleCnt="0"/>
      <dgm:spPr/>
    </dgm:pt>
    <dgm:pt modelId="{727A70BD-691E-4C3E-807E-9549344687F3}" type="pres">
      <dgm:prSet presAssocID="{A2F4903F-4447-4073-BB74-1C2B25306631}" presName="space" presStyleCnt="0"/>
      <dgm:spPr/>
    </dgm:pt>
    <dgm:pt modelId="{01F67A8B-14D4-40AB-ABC5-66DF0472DEF3}" type="pres">
      <dgm:prSet presAssocID="{141E7F46-1828-4829-9E41-42409A1DCA07}" presName="compositeB" presStyleCnt="0"/>
      <dgm:spPr/>
    </dgm:pt>
    <dgm:pt modelId="{4313BB20-CA86-4CDE-9E99-78A0772F7C62}" type="pres">
      <dgm:prSet presAssocID="{141E7F46-1828-4829-9E41-42409A1DCA07}" presName="textB" presStyleLbl="revTx" presStyleIdx="3" presStyleCnt="4" custScaleX="145451" custScaleY="73809" custLinFactNeighborX="13023" custLinFactNeighborY="-60681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B9449AD-62BB-4738-965C-ADDF64C01036}" type="pres">
      <dgm:prSet presAssocID="{141E7F46-1828-4829-9E41-42409A1DCA07}" presName="circleB" presStyleLbl="node1" presStyleIdx="3" presStyleCnt="4" custLinFactY="-56568" custLinFactNeighborY="-100000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pt-BR"/>
        </a:p>
      </dgm:t>
    </dgm:pt>
    <dgm:pt modelId="{0735295E-5A6F-40D6-9C2D-A8BF03539F1F}" type="pres">
      <dgm:prSet presAssocID="{141E7F46-1828-4829-9E41-42409A1DCA07}" presName="spaceB" presStyleCnt="0"/>
      <dgm:spPr/>
    </dgm:pt>
  </dgm:ptLst>
  <dgm:cxnLst>
    <dgm:cxn modelId="{23951DC3-7D8B-497E-B83D-DC0C741FC810}" type="presOf" srcId="{96BDB3EE-979C-41EC-9C54-438601EC9A16}" destId="{B5362C5E-2645-4305-AD4B-90C17CACB81D}" srcOrd="0" destOrd="1" presId="urn:microsoft.com/office/officeart/2005/8/layout/hProcess11"/>
    <dgm:cxn modelId="{53650630-CB4C-4B99-8EDA-4939C16816AB}" type="presOf" srcId="{AFB8A510-16C0-4E85-8385-970D9B524916}" destId="{B5362C5E-2645-4305-AD4B-90C17CACB81D}" srcOrd="0" destOrd="4" presId="urn:microsoft.com/office/officeart/2005/8/layout/hProcess11"/>
    <dgm:cxn modelId="{88EDE001-4C39-488D-93AF-B983BB0C3416}" type="presOf" srcId="{6AE8E633-C200-450D-9829-DCF4B012B1B5}" destId="{7C18F256-F8B9-4D2D-BF5F-E9F6C61C004E}" srcOrd="0" destOrd="7" presId="urn:microsoft.com/office/officeart/2005/8/layout/hProcess11"/>
    <dgm:cxn modelId="{7924D0E8-DA4B-426D-BBFB-EDA8DB5142C0}" type="presOf" srcId="{3FB8D5DA-DBBE-448C-83B0-D676CB8058DB}" destId="{AD9E265E-1972-4BA5-B612-18396B665CC9}" srcOrd="0" destOrd="0" presId="urn:microsoft.com/office/officeart/2005/8/layout/hProcess11"/>
    <dgm:cxn modelId="{6AC2A31B-A5AB-494E-B878-F190D298690E}" srcId="{3FB8D5DA-DBBE-448C-83B0-D676CB8058DB}" destId="{303BFC0C-51B8-473F-BC64-6DE3D93527E4}" srcOrd="2" destOrd="0" parTransId="{F50C448E-AFA0-4BE5-8B1C-D840C3869E4D}" sibTransId="{AB9365CF-3F03-4320-9195-4F71ACB20770}"/>
    <dgm:cxn modelId="{D4933DAA-F8EC-473E-B199-71123FBB3B19}" type="presOf" srcId="{141E7F46-1828-4829-9E41-42409A1DCA07}" destId="{4313BB20-CA86-4CDE-9E99-78A0772F7C62}" srcOrd="0" destOrd="0" presId="urn:microsoft.com/office/officeart/2005/8/layout/hProcess11"/>
    <dgm:cxn modelId="{5A0A7B6E-0B33-4B36-9EBC-585A8681A0B9}" type="presOf" srcId="{937DDEBD-0AE5-4D8F-A99F-88932C8ED257}" destId="{7C18F256-F8B9-4D2D-BF5F-E9F6C61C004E}" srcOrd="0" destOrd="8" presId="urn:microsoft.com/office/officeart/2005/8/layout/hProcess11"/>
    <dgm:cxn modelId="{8122E3A2-136F-40BA-8189-4F354E2DF019}" type="presOf" srcId="{63D04D2A-5CC2-4A77-A3C5-A19F29EBC8CA}" destId="{7C18F256-F8B9-4D2D-BF5F-E9F6C61C004E}" srcOrd="0" destOrd="0" presId="urn:microsoft.com/office/officeart/2005/8/layout/hProcess11"/>
    <dgm:cxn modelId="{DD350617-31B9-4438-9966-148B0D9407CE}" srcId="{63D04D2A-5CC2-4A77-A3C5-A19F29EBC8CA}" destId="{F742CD09-CE9E-4BA2-A190-EDEFE22E5850}" srcOrd="4" destOrd="0" parTransId="{5B162C92-A02B-4EED-95FF-D991148F6741}" sibTransId="{EF9D1C47-71A3-41FF-AE0F-7F2EFDDE8288}"/>
    <dgm:cxn modelId="{83E45D70-6E0D-4DC8-92CE-C788667ABBA0}" type="presOf" srcId="{F742CD09-CE9E-4BA2-A190-EDEFE22E5850}" destId="{7C18F256-F8B9-4D2D-BF5F-E9F6C61C004E}" srcOrd="0" destOrd="5" presId="urn:microsoft.com/office/officeart/2005/8/layout/hProcess11"/>
    <dgm:cxn modelId="{0C2D18D7-2A7B-41D2-BB75-86C5E7C57789}" type="presOf" srcId="{2088CCDF-5F2C-43E0-8E3F-196094174274}" destId="{4313BB20-CA86-4CDE-9E99-78A0772F7C62}" srcOrd="0" destOrd="4" presId="urn:microsoft.com/office/officeart/2005/8/layout/hProcess11"/>
    <dgm:cxn modelId="{AC38F93C-CAF7-49B6-87A7-4E4BC2454E8A}" srcId="{A9AB3027-CE3E-49A7-B85B-A1C088E05B03}" destId="{5A1AF00F-7AEC-46D8-8D5B-2F05ACF2C849}" srcOrd="4" destOrd="0" parTransId="{FAE421BF-28F1-449B-8C69-D0EFB4E0D01D}" sibTransId="{AC92FA6B-3418-4BE0-9EEF-93D14878F9DF}"/>
    <dgm:cxn modelId="{1C0908F4-8A53-4997-BEC5-2D9D5D5CBEFB}" type="presOf" srcId="{BD25F9B5-EED8-4731-8FF9-43EC8045D3EA}" destId="{AD9E265E-1972-4BA5-B612-18396B665CC9}" srcOrd="0" destOrd="5" presId="urn:microsoft.com/office/officeart/2005/8/layout/hProcess11"/>
    <dgm:cxn modelId="{BE82A017-0629-47B5-AAD1-B5940B7E1DD7}" srcId="{63D04D2A-5CC2-4A77-A3C5-A19F29EBC8CA}" destId="{3EA4D5DC-8955-46F0-9CBD-D65349FCDE1F}" srcOrd="5" destOrd="0" parTransId="{FDFA52AC-7A11-4CD5-856B-89E7FBA44928}" sibTransId="{60FD25C8-352C-464B-A336-F62E5A7C0F70}"/>
    <dgm:cxn modelId="{F9C54579-D956-4793-83B5-EC8436B2120C}" type="presOf" srcId="{3D591B23-E883-40F6-B3A0-CB14101885FD}" destId="{B5362C5E-2645-4305-AD4B-90C17CACB81D}" srcOrd="0" destOrd="3" presId="urn:microsoft.com/office/officeart/2005/8/layout/hProcess11"/>
    <dgm:cxn modelId="{1747C003-F787-40E5-84A6-7EF58CD881AC}" srcId="{63D04D2A-5CC2-4A77-A3C5-A19F29EBC8CA}" destId="{937DDEBD-0AE5-4D8F-A99F-88932C8ED257}" srcOrd="7" destOrd="0" parTransId="{27A8582B-7E4A-4A9A-BF91-8ED4E481FA46}" sibTransId="{30714363-72B1-4659-98A9-96780B6396E6}"/>
    <dgm:cxn modelId="{2694F908-6648-4AD0-9722-D4AF0F9EB54A}" type="presOf" srcId="{C8E7E625-4BC1-45E5-91E3-9FE591B32248}" destId="{AD9E265E-1972-4BA5-B612-18396B665CC9}" srcOrd="0" destOrd="4" presId="urn:microsoft.com/office/officeart/2005/8/layout/hProcess11"/>
    <dgm:cxn modelId="{52AF173E-7306-4FDB-8DF1-A2695B1A18F5}" type="presOf" srcId="{B4E72F4E-E840-49EC-B9DE-0AFB69233F6F}" destId="{B5362C5E-2645-4305-AD4B-90C17CACB81D}" srcOrd="0" destOrd="2" presId="urn:microsoft.com/office/officeart/2005/8/layout/hProcess11"/>
    <dgm:cxn modelId="{3CBCE385-014D-4F4A-BFAE-97DD940B3D60}" type="presOf" srcId="{492A9C47-E249-400B-949E-1EE927854CDC}" destId="{4313BB20-CA86-4CDE-9E99-78A0772F7C62}" srcOrd="0" destOrd="5" presId="urn:microsoft.com/office/officeart/2005/8/layout/hProcess11"/>
    <dgm:cxn modelId="{890CD471-18A5-4E47-8732-2CCC609BF43C}" srcId="{A9AB3027-CE3E-49A7-B85B-A1C088E05B03}" destId="{AFB8A510-16C0-4E85-8385-970D9B524916}" srcOrd="3" destOrd="0" parTransId="{6717F9D9-8214-4CF1-9FE4-3D490E012978}" sibTransId="{91E0DB1C-93C8-42EE-84EA-A49026204CCA}"/>
    <dgm:cxn modelId="{6177E98A-60FD-4B35-A64C-227A096B7D7B}" srcId="{63D04D2A-5CC2-4A77-A3C5-A19F29EBC8CA}" destId="{33278106-F829-4ABD-BC48-3E6049DD113E}" srcOrd="3" destOrd="0" parTransId="{ED1AAFA2-FFE9-4284-91C1-7F9D47E6E1EA}" sibTransId="{1A852CC9-13D4-435A-8EB8-811CC1806B5D}"/>
    <dgm:cxn modelId="{D8F4EF1B-E7F6-473F-B326-CF53DAFF12D5}" type="presOf" srcId="{FFE6216B-CECB-4435-AC07-05EC5EBB4505}" destId="{AD9E265E-1972-4BA5-B612-18396B665CC9}" srcOrd="0" destOrd="2" presId="urn:microsoft.com/office/officeart/2005/8/layout/hProcess11"/>
    <dgm:cxn modelId="{BE73C0E6-B8DA-4CA4-A69A-7BC05FA6787B}" srcId="{3FB8D5DA-DBBE-448C-83B0-D676CB8058DB}" destId="{76B38350-A147-4A01-AB45-3262A8B089FA}" srcOrd="0" destOrd="0" parTransId="{8BE8DA77-A085-44D3-8956-1C3FFE66AAFF}" sibTransId="{FE8BB102-ACD9-4E42-8905-5D6A61D0D1F9}"/>
    <dgm:cxn modelId="{AC44E9F9-C75B-4B17-A6A1-265B321B7D50}" srcId="{141E7F46-1828-4829-9E41-42409A1DCA07}" destId="{492A9C47-E249-400B-949E-1EE927854CDC}" srcOrd="4" destOrd="0" parTransId="{FB2AB144-9E69-46D7-8F8E-8FAFDB68C6FF}" sibTransId="{34D4DE91-4A55-4765-BB1B-2191A54DD557}"/>
    <dgm:cxn modelId="{103D1576-EC3F-4894-9AC4-17569AABF8A6}" srcId="{A9AB3027-CE3E-49A7-B85B-A1C088E05B03}" destId="{96BDB3EE-979C-41EC-9C54-438601EC9A16}" srcOrd="0" destOrd="0" parTransId="{210DB6B3-49C7-43BF-9D20-E0B94D237AC2}" sibTransId="{F300701E-C32D-400E-8E9F-3ADB11CBE517}"/>
    <dgm:cxn modelId="{FFB97E92-0119-4546-9389-D1596E4934F1}" srcId="{CC5A65E6-2FFA-4D2C-95E0-A87A6D93410D}" destId="{141E7F46-1828-4829-9E41-42409A1DCA07}" srcOrd="3" destOrd="0" parTransId="{EB86E41F-20DB-40BD-8182-A214FE8D24EC}" sibTransId="{5CBD59BE-2893-4AFA-BBD1-F39872BD7518}"/>
    <dgm:cxn modelId="{8F2C2A62-9BFE-4467-8770-E9AC14F952F6}" type="presOf" srcId="{21B78AE6-66FF-4DA4-B080-50DAA3C29B55}" destId="{4313BB20-CA86-4CDE-9E99-78A0772F7C62}" srcOrd="0" destOrd="1" presId="urn:microsoft.com/office/officeart/2005/8/layout/hProcess11"/>
    <dgm:cxn modelId="{93014FB2-D75F-47EC-9621-A26C3512ABAF}" srcId="{CC5A65E6-2FFA-4D2C-95E0-A87A6D93410D}" destId="{3FB8D5DA-DBBE-448C-83B0-D676CB8058DB}" srcOrd="0" destOrd="0" parTransId="{60C3683B-3236-47EB-9B57-076123CB5512}" sibTransId="{AD57D965-5860-4172-A876-55E952178053}"/>
    <dgm:cxn modelId="{54372FD3-A9D3-420D-B346-DB8AB0AAF73A}" type="presOf" srcId="{33278106-F829-4ABD-BC48-3E6049DD113E}" destId="{7C18F256-F8B9-4D2D-BF5F-E9F6C61C004E}" srcOrd="0" destOrd="4" presId="urn:microsoft.com/office/officeart/2005/8/layout/hProcess11"/>
    <dgm:cxn modelId="{E916C204-90ED-4AC7-826F-9E9F4268C696}" srcId="{3FB8D5DA-DBBE-448C-83B0-D676CB8058DB}" destId="{C8E7E625-4BC1-45E5-91E3-9FE591B32248}" srcOrd="3" destOrd="0" parTransId="{45D48D6B-7702-4940-A49E-D40205F9854D}" sibTransId="{1635602A-3269-483E-B481-B88A56630B3A}"/>
    <dgm:cxn modelId="{D019C11C-DE0D-4A51-AD63-B0A1F6EEE7B1}" type="presOf" srcId="{A9AB3027-CE3E-49A7-B85B-A1C088E05B03}" destId="{B5362C5E-2645-4305-AD4B-90C17CACB81D}" srcOrd="0" destOrd="0" presId="urn:microsoft.com/office/officeart/2005/8/layout/hProcess11"/>
    <dgm:cxn modelId="{BE117CAF-3F30-4401-9832-974B70604701}" type="presOf" srcId="{3EA4D5DC-8955-46F0-9CBD-D65349FCDE1F}" destId="{7C18F256-F8B9-4D2D-BF5F-E9F6C61C004E}" srcOrd="0" destOrd="6" presId="urn:microsoft.com/office/officeart/2005/8/layout/hProcess11"/>
    <dgm:cxn modelId="{AD230E06-EA7D-4B58-AF34-3D440510DC87}" type="presOf" srcId="{CC5A65E6-2FFA-4D2C-95E0-A87A6D93410D}" destId="{ADF52812-5354-486F-AA0F-70CA2E42168A}" srcOrd="0" destOrd="0" presId="urn:microsoft.com/office/officeart/2005/8/layout/hProcess11"/>
    <dgm:cxn modelId="{00ECBC18-3C56-4818-9170-2368572AB59E}" srcId="{A9AB3027-CE3E-49A7-B85B-A1C088E05B03}" destId="{3D591B23-E883-40F6-B3A0-CB14101885FD}" srcOrd="2" destOrd="0" parTransId="{FB9B68F8-ECD6-4298-827C-DEBE02E5DD1F}" sibTransId="{6BF72F57-47B0-43BA-9550-724F71BF0D46}"/>
    <dgm:cxn modelId="{AB57EF20-0088-421E-B555-5F2DEB84985D}" srcId="{3FB8D5DA-DBBE-448C-83B0-D676CB8058DB}" destId="{BD25F9B5-EED8-4731-8FF9-43EC8045D3EA}" srcOrd="4" destOrd="0" parTransId="{69A63399-6BA1-44FF-8CAD-4734194CF927}" sibTransId="{BA20EE3C-D14F-4564-BA93-008D1C0DA279}"/>
    <dgm:cxn modelId="{4363590E-FC4B-4DB7-B002-B07680D68A36}" type="presOf" srcId="{81ECA798-7AED-4AF6-B53F-48F8C7CFE734}" destId="{7C18F256-F8B9-4D2D-BF5F-E9F6C61C004E}" srcOrd="0" destOrd="3" presId="urn:microsoft.com/office/officeart/2005/8/layout/hProcess11"/>
    <dgm:cxn modelId="{4D6DB002-508B-4239-824B-549EEDBB4DCF}" type="presOf" srcId="{303BFC0C-51B8-473F-BC64-6DE3D93527E4}" destId="{AD9E265E-1972-4BA5-B612-18396B665CC9}" srcOrd="0" destOrd="3" presId="urn:microsoft.com/office/officeart/2005/8/layout/hProcess11"/>
    <dgm:cxn modelId="{065F7FF1-1EC2-4F56-B892-946E3FE1CE68}" srcId="{63D04D2A-5CC2-4A77-A3C5-A19F29EBC8CA}" destId="{A9B213E7-143C-4C1A-93AC-E7A23BC350F6}" srcOrd="0" destOrd="0" parTransId="{41ADE714-D741-4C07-864E-ED5C5ACD78B0}" sibTransId="{95A0C8F7-BFC4-4F41-9E28-A4350D50592B}"/>
    <dgm:cxn modelId="{6F63A1C0-7C03-4711-A704-52FE19C1DB85}" type="presOf" srcId="{5FFAC092-85F8-40BA-861F-0817F770D223}" destId="{7C18F256-F8B9-4D2D-BF5F-E9F6C61C004E}" srcOrd="0" destOrd="2" presId="urn:microsoft.com/office/officeart/2005/8/layout/hProcess11"/>
    <dgm:cxn modelId="{98C7B6E1-B885-4F36-B73C-ACF7FED1DE9D}" srcId="{63D04D2A-5CC2-4A77-A3C5-A19F29EBC8CA}" destId="{5FFAC092-85F8-40BA-861F-0817F770D223}" srcOrd="1" destOrd="0" parTransId="{5E6DCEC4-C645-45F5-A438-1162CC1F52AC}" sibTransId="{E3AC0A48-66A4-4B9F-BA22-EE9858E97D6C}"/>
    <dgm:cxn modelId="{D9C02EEB-60E3-4458-9431-018215A20C01}" srcId="{141E7F46-1828-4829-9E41-42409A1DCA07}" destId="{2088CCDF-5F2C-43E0-8E3F-196094174274}" srcOrd="3" destOrd="0" parTransId="{C8969882-DD51-43FC-80F8-8EE3ED3DD4BF}" sibTransId="{B27F6B69-B856-4CAC-AC52-BF236268D0EE}"/>
    <dgm:cxn modelId="{4B26F5FD-418B-440B-AEB8-3C205207043E}" srcId="{141E7F46-1828-4829-9E41-42409A1DCA07}" destId="{BEB6A9F6-98CB-4CF9-B044-68039426A2F2}" srcOrd="1" destOrd="0" parTransId="{0A66EDA6-9A38-4833-B522-99D26F4E9681}" sibTransId="{BD577AE4-A4CF-41CE-A230-DAF154511135}"/>
    <dgm:cxn modelId="{500EB006-07C5-4C9B-9438-1942CCD30697}" srcId="{63D04D2A-5CC2-4A77-A3C5-A19F29EBC8CA}" destId="{6AE8E633-C200-450D-9829-DCF4B012B1B5}" srcOrd="6" destOrd="0" parTransId="{C6C42701-FA9A-42C8-971B-2E7F4B55431B}" sibTransId="{75A3358A-B511-4D7D-80BC-9EF9FEF1726C}"/>
    <dgm:cxn modelId="{129B3088-766E-4F24-A00E-2D3CE62F3625}" srcId="{141E7F46-1828-4829-9E41-42409A1DCA07}" destId="{21B78AE6-66FF-4DA4-B080-50DAA3C29B55}" srcOrd="0" destOrd="0" parTransId="{B387C8D5-FA6D-4D01-91EF-A6501D5AE75A}" sibTransId="{DE00C647-2C4D-4095-B8C4-0DDAC7464F6C}"/>
    <dgm:cxn modelId="{58F6A9BE-2993-4E3F-AC19-10AB505DFD5F}" type="presOf" srcId="{19E1F49C-E972-4B4B-995A-1DEBDC0DF708}" destId="{4313BB20-CA86-4CDE-9E99-78A0772F7C62}" srcOrd="0" destOrd="3" presId="urn:microsoft.com/office/officeart/2005/8/layout/hProcess11"/>
    <dgm:cxn modelId="{18741529-AB25-4F4C-BE69-017B68477056}" type="presOf" srcId="{A9B213E7-143C-4C1A-93AC-E7A23BC350F6}" destId="{7C18F256-F8B9-4D2D-BF5F-E9F6C61C004E}" srcOrd="0" destOrd="1" presId="urn:microsoft.com/office/officeart/2005/8/layout/hProcess11"/>
    <dgm:cxn modelId="{FF0581D3-1FD9-443C-9A0E-6155C789CA9E}" type="presOf" srcId="{5A1AF00F-7AEC-46D8-8D5B-2F05ACF2C849}" destId="{B5362C5E-2645-4305-AD4B-90C17CACB81D}" srcOrd="0" destOrd="5" presId="urn:microsoft.com/office/officeart/2005/8/layout/hProcess11"/>
    <dgm:cxn modelId="{6836622F-855D-4ABC-85CA-0EB478035740}" srcId="{CC5A65E6-2FFA-4D2C-95E0-A87A6D93410D}" destId="{63D04D2A-5CC2-4A77-A3C5-A19F29EBC8CA}" srcOrd="1" destOrd="0" parTransId="{C4FBDADF-8982-4589-98B5-DCE237D9C5AA}" sibTransId="{891CBAF4-3EDF-4D41-95DE-2050925FBC6E}"/>
    <dgm:cxn modelId="{326ADA88-1129-4597-BF91-B326C691685B}" type="presOf" srcId="{BEB6A9F6-98CB-4CF9-B044-68039426A2F2}" destId="{4313BB20-CA86-4CDE-9E99-78A0772F7C62}" srcOrd="0" destOrd="2" presId="urn:microsoft.com/office/officeart/2005/8/layout/hProcess11"/>
    <dgm:cxn modelId="{2C7050D6-4311-4D53-A0FE-9B326B836D83}" srcId="{141E7F46-1828-4829-9E41-42409A1DCA07}" destId="{19E1F49C-E972-4B4B-995A-1DEBDC0DF708}" srcOrd="2" destOrd="0" parTransId="{02E8C70C-7064-40DE-A7C3-73D28553F352}" sibTransId="{1B0BE526-45F9-49E6-8C39-2ADE5B4A38E5}"/>
    <dgm:cxn modelId="{C585AED4-C685-4EEF-88E8-50928AA52373}" srcId="{CC5A65E6-2FFA-4D2C-95E0-A87A6D93410D}" destId="{A9AB3027-CE3E-49A7-B85B-A1C088E05B03}" srcOrd="2" destOrd="0" parTransId="{B823D111-D790-4782-A60F-3159C537330A}" sibTransId="{A2F4903F-4447-4073-BB74-1C2B25306631}"/>
    <dgm:cxn modelId="{20A3DCEC-9E76-485D-BD44-6257FDC4CC46}" srcId="{63D04D2A-5CC2-4A77-A3C5-A19F29EBC8CA}" destId="{81ECA798-7AED-4AF6-B53F-48F8C7CFE734}" srcOrd="2" destOrd="0" parTransId="{EA827DC0-231C-4625-8D6D-77D64CAAEC3C}" sibTransId="{5284CCB4-7731-448B-8D41-B49851655B9B}"/>
    <dgm:cxn modelId="{F27CCE21-8101-4E82-82D4-3865CCAA13F3}" srcId="{3FB8D5DA-DBBE-448C-83B0-D676CB8058DB}" destId="{FFE6216B-CECB-4435-AC07-05EC5EBB4505}" srcOrd="1" destOrd="0" parTransId="{ECABD0B3-F6A2-43D5-8E64-26A8388BA274}" sibTransId="{41B48144-C58B-4916-BAF2-8AB594930699}"/>
    <dgm:cxn modelId="{FFF341A0-6B39-4937-A099-7CA9AB70240F}" srcId="{A9AB3027-CE3E-49A7-B85B-A1C088E05B03}" destId="{B4E72F4E-E840-49EC-B9DE-0AFB69233F6F}" srcOrd="1" destOrd="0" parTransId="{C829A878-5947-459B-A598-608D70D88BD3}" sibTransId="{CD1A3217-75C7-4D8F-98B9-6CD6E1CC8019}"/>
    <dgm:cxn modelId="{3128396D-F31D-40C9-A602-B1FB61285111}" type="presOf" srcId="{76B38350-A147-4A01-AB45-3262A8B089FA}" destId="{AD9E265E-1972-4BA5-B612-18396B665CC9}" srcOrd="0" destOrd="1" presId="urn:microsoft.com/office/officeart/2005/8/layout/hProcess11"/>
    <dgm:cxn modelId="{E620690A-1C80-4276-B40D-6F937BEC040A}" type="presParOf" srcId="{ADF52812-5354-486F-AA0F-70CA2E42168A}" destId="{A4AF27D3-AB43-4EB0-9500-122A1344E88E}" srcOrd="0" destOrd="0" presId="urn:microsoft.com/office/officeart/2005/8/layout/hProcess11"/>
    <dgm:cxn modelId="{AED61B5C-FC85-439B-A418-D839D87DFC1D}" type="presParOf" srcId="{ADF52812-5354-486F-AA0F-70CA2E42168A}" destId="{8C96B9A8-E6F2-4B4D-9091-2F7246DC8D14}" srcOrd="1" destOrd="0" presId="urn:microsoft.com/office/officeart/2005/8/layout/hProcess11"/>
    <dgm:cxn modelId="{1E1D2D66-0EE9-4F65-9E2B-804CC9F88956}" type="presParOf" srcId="{8C96B9A8-E6F2-4B4D-9091-2F7246DC8D14}" destId="{7409CF3F-05DA-4897-9437-A2229CF47579}" srcOrd="0" destOrd="0" presId="urn:microsoft.com/office/officeart/2005/8/layout/hProcess11"/>
    <dgm:cxn modelId="{BAB04F79-852E-40F2-A087-2D52FFA5026A}" type="presParOf" srcId="{7409CF3F-05DA-4897-9437-A2229CF47579}" destId="{AD9E265E-1972-4BA5-B612-18396B665CC9}" srcOrd="0" destOrd="0" presId="urn:microsoft.com/office/officeart/2005/8/layout/hProcess11"/>
    <dgm:cxn modelId="{7862C5BC-3F9D-444A-A5F4-6F812F940F68}" type="presParOf" srcId="{7409CF3F-05DA-4897-9437-A2229CF47579}" destId="{01653F72-3EE7-4701-8574-F10FC3BC861B}" srcOrd="1" destOrd="0" presId="urn:microsoft.com/office/officeart/2005/8/layout/hProcess11"/>
    <dgm:cxn modelId="{302DF9A0-CFF9-4238-9F0A-9583FD6DCB47}" type="presParOf" srcId="{7409CF3F-05DA-4897-9437-A2229CF47579}" destId="{6912D883-D723-4F5B-9950-09EF22FF852C}" srcOrd="2" destOrd="0" presId="urn:microsoft.com/office/officeart/2005/8/layout/hProcess11"/>
    <dgm:cxn modelId="{125DEE3A-F308-48E2-AB46-4A9558D07E23}" type="presParOf" srcId="{8C96B9A8-E6F2-4B4D-9091-2F7246DC8D14}" destId="{70875331-A116-4631-9935-D74D0D130D8E}" srcOrd="1" destOrd="0" presId="urn:microsoft.com/office/officeart/2005/8/layout/hProcess11"/>
    <dgm:cxn modelId="{A2E0A9B0-F232-48B4-95C6-412A924F82F4}" type="presParOf" srcId="{8C96B9A8-E6F2-4B4D-9091-2F7246DC8D14}" destId="{68F5EA40-6439-49E4-9366-64CC0486BDAB}" srcOrd="2" destOrd="0" presId="urn:microsoft.com/office/officeart/2005/8/layout/hProcess11"/>
    <dgm:cxn modelId="{8945DA7F-CAF6-43C2-AF76-3168CBF70A46}" type="presParOf" srcId="{68F5EA40-6439-49E4-9366-64CC0486BDAB}" destId="{7C18F256-F8B9-4D2D-BF5F-E9F6C61C004E}" srcOrd="0" destOrd="0" presId="urn:microsoft.com/office/officeart/2005/8/layout/hProcess11"/>
    <dgm:cxn modelId="{50A004C6-768A-4995-B33C-6A32A2A8070D}" type="presParOf" srcId="{68F5EA40-6439-49E4-9366-64CC0486BDAB}" destId="{68735D89-E47A-492B-9770-825D1327D4FA}" srcOrd="1" destOrd="0" presId="urn:microsoft.com/office/officeart/2005/8/layout/hProcess11"/>
    <dgm:cxn modelId="{60B89DF7-A594-4139-B97C-EB311A4C7B0E}" type="presParOf" srcId="{68F5EA40-6439-49E4-9366-64CC0486BDAB}" destId="{EE54CDD7-01E0-4706-90AD-04624470BF04}" srcOrd="2" destOrd="0" presId="urn:microsoft.com/office/officeart/2005/8/layout/hProcess11"/>
    <dgm:cxn modelId="{0FF46883-3B81-4401-8B03-D4E9E39A9EF4}" type="presParOf" srcId="{8C96B9A8-E6F2-4B4D-9091-2F7246DC8D14}" destId="{52BADF88-CAD1-4418-B6FC-4BC7B876AD87}" srcOrd="3" destOrd="0" presId="urn:microsoft.com/office/officeart/2005/8/layout/hProcess11"/>
    <dgm:cxn modelId="{1E6E6A3D-8595-491F-8D5D-B7D2E056B39A}" type="presParOf" srcId="{8C96B9A8-E6F2-4B4D-9091-2F7246DC8D14}" destId="{319BDE20-DEB5-44E7-A95F-32C8D2633A53}" srcOrd="4" destOrd="0" presId="urn:microsoft.com/office/officeart/2005/8/layout/hProcess11"/>
    <dgm:cxn modelId="{1363792B-C551-4699-9D2C-74893A128402}" type="presParOf" srcId="{319BDE20-DEB5-44E7-A95F-32C8D2633A53}" destId="{B5362C5E-2645-4305-AD4B-90C17CACB81D}" srcOrd="0" destOrd="0" presId="urn:microsoft.com/office/officeart/2005/8/layout/hProcess11"/>
    <dgm:cxn modelId="{E52991CD-1E22-4C88-9C5B-4C28D57BFB77}" type="presParOf" srcId="{319BDE20-DEB5-44E7-A95F-32C8D2633A53}" destId="{69D03AFA-B98A-4069-9E73-FF5AD3CD515D}" srcOrd="1" destOrd="0" presId="urn:microsoft.com/office/officeart/2005/8/layout/hProcess11"/>
    <dgm:cxn modelId="{242BE568-B558-4F29-B43B-64D7FDFDDC93}" type="presParOf" srcId="{319BDE20-DEB5-44E7-A95F-32C8D2633A53}" destId="{8CFB6DEB-CA13-4E0A-9DE3-ED8F1513A6B4}" srcOrd="2" destOrd="0" presId="urn:microsoft.com/office/officeart/2005/8/layout/hProcess11"/>
    <dgm:cxn modelId="{AED6E548-D948-45A5-9DCE-C41A38A6F936}" type="presParOf" srcId="{8C96B9A8-E6F2-4B4D-9091-2F7246DC8D14}" destId="{727A70BD-691E-4C3E-807E-9549344687F3}" srcOrd="5" destOrd="0" presId="urn:microsoft.com/office/officeart/2005/8/layout/hProcess11"/>
    <dgm:cxn modelId="{DC118259-397E-4516-88E0-94FA56046653}" type="presParOf" srcId="{8C96B9A8-E6F2-4B4D-9091-2F7246DC8D14}" destId="{01F67A8B-14D4-40AB-ABC5-66DF0472DEF3}" srcOrd="6" destOrd="0" presId="urn:microsoft.com/office/officeart/2005/8/layout/hProcess11"/>
    <dgm:cxn modelId="{F4950B29-ECB3-46CF-AA32-EAD5FA6E7313}" type="presParOf" srcId="{01F67A8B-14D4-40AB-ABC5-66DF0472DEF3}" destId="{4313BB20-CA86-4CDE-9E99-78A0772F7C62}" srcOrd="0" destOrd="0" presId="urn:microsoft.com/office/officeart/2005/8/layout/hProcess11"/>
    <dgm:cxn modelId="{4AEB970D-FE9D-411C-9633-C4AD11BBC6ED}" type="presParOf" srcId="{01F67A8B-14D4-40AB-ABC5-66DF0472DEF3}" destId="{CB9449AD-62BB-4738-965C-ADDF64C01036}" srcOrd="1" destOrd="0" presId="urn:microsoft.com/office/officeart/2005/8/layout/hProcess11"/>
    <dgm:cxn modelId="{FE452927-484B-471F-BC4E-C1794F5DA86A}" type="presParOf" srcId="{01F67A8B-14D4-40AB-ABC5-66DF0472DEF3}" destId="{0735295E-5A6F-40D6-9C2D-A8BF03539F1F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2336337-2256-44E8-BEDF-0D21DDDF7D43}" type="doc">
      <dgm:prSet loTypeId="urn:microsoft.com/office/officeart/2005/8/layout/process3" loCatId="process" qsTypeId="urn:microsoft.com/office/officeart/2005/8/quickstyle/simple1" qsCatId="simple" csTypeId="urn:microsoft.com/office/officeart/2005/8/colors/accent6_4" csCatId="accent6" phldr="1"/>
      <dgm:spPr/>
      <dgm:t>
        <a:bodyPr/>
        <a:lstStyle/>
        <a:p>
          <a:endParaRPr lang="pt-BR"/>
        </a:p>
      </dgm:t>
    </dgm:pt>
    <dgm:pt modelId="{C2C72F27-2098-4705-897B-44A484D71828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 2 :: Motor de regras e TV </a:t>
          </a:r>
          <a:r>
            <a:rPr lang="pt-BR" dirty="0" err="1" smtClean="0">
              <a:latin typeface="Simplon BP Regular" pitchFamily="2" charset="0"/>
            </a:rPr>
            <a:t>Offline</a:t>
          </a:r>
          <a:endParaRPr lang="pt-BR" dirty="0">
            <a:latin typeface="Simplon BP Regular" pitchFamily="2" charset="0"/>
          </a:endParaRPr>
        </a:p>
      </dgm:t>
    </dgm:pt>
    <dgm:pt modelId="{26C3E0B6-A821-44F0-817F-B3112DA2B3BB}" type="parTrans" cxnId="{A25F2DD5-DA7A-491C-8F74-9FC277617AC1}">
      <dgm:prSet/>
      <dgm:spPr/>
      <dgm:t>
        <a:bodyPr/>
        <a:lstStyle/>
        <a:p>
          <a:endParaRPr lang="pt-BR"/>
        </a:p>
      </dgm:t>
    </dgm:pt>
    <dgm:pt modelId="{8502707A-B1C2-4D59-9033-D39348DDF64B}" type="sibTrans" cxnId="{A25F2DD5-DA7A-491C-8F74-9FC277617AC1}">
      <dgm:prSet/>
      <dgm:spPr/>
      <dgm:t>
        <a:bodyPr/>
        <a:lstStyle/>
        <a:p>
          <a:endParaRPr lang="pt-BR"/>
        </a:p>
      </dgm:t>
    </dgm:pt>
    <dgm:pt modelId="{4846EA97-7DB8-48BE-968E-AE939301B328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Carga e normalização  de bases domínio Prevenção a Fraudes (15 bases)</a:t>
          </a:r>
          <a:endParaRPr lang="pt-BR" dirty="0">
            <a:latin typeface="Simplon BP Regular" pitchFamily="2" charset="0"/>
          </a:endParaRPr>
        </a:p>
      </dgm:t>
    </dgm:pt>
    <dgm:pt modelId="{EDADC7B2-04EB-40FD-9C04-09E7DDC39AC3}" type="parTrans" cxnId="{3D313CED-A70C-44DD-B549-E7FA4E8AB806}">
      <dgm:prSet/>
      <dgm:spPr/>
      <dgm:t>
        <a:bodyPr/>
        <a:lstStyle/>
        <a:p>
          <a:endParaRPr lang="pt-BR"/>
        </a:p>
      </dgm:t>
    </dgm:pt>
    <dgm:pt modelId="{8A9A6569-8BBF-4269-A1A7-E3AD9BF33B42}" type="sibTrans" cxnId="{3D313CED-A70C-44DD-B549-E7FA4E8AB806}">
      <dgm:prSet/>
      <dgm:spPr/>
      <dgm:t>
        <a:bodyPr/>
        <a:lstStyle/>
        <a:p>
          <a:endParaRPr lang="pt-BR"/>
        </a:p>
      </dgm:t>
    </dgm:pt>
    <dgm:pt modelId="{12CB4909-2A43-44E2-B35A-56AF72E51FC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 3 ::Oi Total 2P+Fixa R1 1P+Transact Online</a:t>
          </a:r>
          <a:endParaRPr lang="pt-BR" dirty="0">
            <a:latin typeface="Simplon BP Regular" pitchFamily="2" charset="0"/>
          </a:endParaRPr>
        </a:p>
      </dgm:t>
    </dgm:pt>
    <dgm:pt modelId="{37F5E0F4-6E7B-42B3-8E6D-BD60485A5D26}" type="parTrans" cxnId="{0C31D8A5-6F15-4CE5-AA7A-F82E294AC01E}">
      <dgm:prSet/>
      <dgm:spPr/>
      <dgm:t>
        <a:bodyPr/>
        <a:lstStyle/>
        <a:p>
          <a:endParaRPr lang="pt-BR"/>
        </a:p>
      </dgm:t>
    </dgm:pt>
    <dgm:pt modelId="{9AE66A17-1F47-4431-8CB9-F8C13BD797CB}" type="sibTrans" cxnId="{0C31D8A5-6F15-4CE5-AA7A-F82E294AC01E}">
      <dgm:prSet/>
      <dgm:spPr/>
      <dgm:t>
        <a:bodyPr/>
        <a:lstStyle/>
        <a:p>
          <a:endParaRPr lang="pt-BR"/>
        </a:p>
      </dgm:t>
    </dgm:pt>
    <dgm:pt modelId="{C94E3FC6-C289-4D27-BDA5-878C8C389927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de regras online e anomalias, score e recomendação de vendas</a:t>
          </a:r>
          <a:endParaRPr lang="pt-BR" dirty="0">
            <a:latin typeface="Simplon BP Regular" pitchFamily="2" charset="0"/>
          </a:endParaRPr>
        </a:p>
      </dgm:t>
    </dgm:pt>
    <dgm:pt modelId="{23BF5F5E-C41E-4821-8BC7-C1018D4C1BDA}" type="parTrans" cxnId="{CC54C0CC-E41A-4D01-9845-B3670B47675A}">
      <dgm:prSet/>
      <dgm:spPr/>
      <dgm:t>
        <a:bodyPr/>
        <a:lstStyle/>
        <a:p>
          <a:endParaRPr lang="pt-BR"/>
        </a:p>
      </dgm:t>
    </dgm:pt>
    <dgm:pt modelId="{3A7B6112-F0A8-43F3-A966-65887EC76C22}" type="sibTrans" cxnId="{CC54C0CC-E41A-4D01-9845-B3670B47675A}">
      <dgm:prSet/>
      <dgm:spPr/>
      <dgm:t>
        <a:bodyPr/>
        <a:lstStyle/>
        <a:p>
          <a:endParaRPr lang="pt-BR"/>
        </a:p>
      </dgm:t>
    </dgm:pt>
    <dgm:pt modelId="{36E9CBAE-C3D4-4953-B6E3-63441700CBC2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ortal alarmes, gestão de regras e relatórios</a:t>
          </a:r>
          <a:endParaRPr lang="pt-BR" dirty="0">
            <a:latin typeface="Simplon BP Regular" pitchFamily="2" charset="0"/>
          </a:endParaRPr>
        </a:p>
      </dgm:t>
    </dgm:pt>
    <dgm:pt modelId="{4DA2C8F3-BE29-4A76-B7F5-E9AA9E02884D}" type="parTrans" cxnId="{E9C86F46-4C4E-4107-96E8-D3B28ACD0E72}">
      <dgm:prSet/>
      <dgm:spPr/>
      <dgm:t>
        <a:bodyPr/>
        <a:lstStyle/>
        <a:p>
          <a:endParaRPr lang="pt-BR"/>
        </a:p>
      </dgm:t>
    </dgm:pt>
    <dgm:pt modelId="{1A889ECF-A9E8-44F5-B027-C75A21738FE5}" type="sibTrans" cxnId="{E9C86F46-4C4E-4107-96E8-D3B28ACD0E72}">
      <dgm:prSet/>
      <dgm:spPr/>
      <dgm:t>
        <a:bodyPr/>
        <a:lstStyle/>
        <a:p>
          <a:endParaRPr lang="pt-BR"/>
        </a:p>
      </dgm:t>
    </dgm:pt>
    <dgm:pt modelId="{26F965D3-4640-4AB4-ADB9-0D104A97D8C6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SOA score </a:t>
          </a:r>
          <a:r>
            <a:rPr lang="pt-BR" dirty="0" err="1" smtClean="0">
              <a:latin typeface="Simplon BP Regular" pitchFamily="2" charset="0"/>
            </a:rPr>
            <a:t>Transact</a:t>
          </a:r>
          <a:r>
            <a:rPr lang="pt-BR" dirty="0" smtClean="0">
              <a:latin typeface="Simplon BP Regular" pitchFamily="2" charset="0"/>
            </a:rPr>
            <a:t> online</a:t>
          </a:r>
          <a:endParaRPr lang="pt-BR" dirty="0">
            <a:latin typeface="Simplon BP Regular" pitchFamily="2" charset="0"/>
          </a:endParaRPr>
        </a:p>
      </dgm:t>
    </dgm:pt>
    <dgm:pt modelId="{30C9086A-A873-4779-A238-8CE3847D3EB8}" type="parTrans" cxnId="{0EBFDC31-E8D9-4DE9-8B18-5890833504F1}">
      <dgm:prSet/>
      <dgm:spPr/>
      <dgm:t>
        <a:bodyPr/>
        <a:lstStyle/>
        <a:p>
          <a:endParaRPr lang="pt-BR"/>
        </a:p>
      </dgm:t>
    </dgm:pt>
    <dgm:pt modelId="{0635CFA3-0257-42E1-BBFD-28DB9E3E6678}" type="sibTrans" cxnId="{0EBFDC31-E8D9-4DE9-8B18-5890833504F1}">
      <dgm:prSet/>
      <dgm:spPr/>
      <dgm:t>
        <a:bodyPr/>
        <a:lstStyle/>
        <a:p>
          <a:endParaRPr lang="pt-BR"/>
        </a:p>
      </dgm:t>
    </dgm:pt>
    <dgm:pt modelId="{7497085F-1912-4C01-A4D4-E5ADB4FDFA72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score analítico de regras (pesos)</a:t>
          </a:r>
          <a:endParaRPr lang="pt-BR" dirty="0">
            <a:latin typeface="Simplon BP Regular" pitchFamily="2" charset="0"/>
          </a:endParaRPr>
        </a:p>
      </dgm:t>
    </dgm:pt>
    <dgm:pt modelId="{C0BD48C7-0A1A-4809-88A2-E57957AA8B90}" type="parTrans" cxnId="{3F4A5409-AEEE-4507-B95B-6ADC9E7648B7}">
      <dgm:prSet/>
      <dgm:spPr/>
      <dgm:t>
        <a:bodyPr/>
        <a:lstStyle/>
        <a:p>
          <a:endParaRPr lang="pt-BR"/>
        </a:p>
      </dgm:t>
    </dgm:pt>
    <dgm:pt modelId="{720DB68A-5BFA-4D7C-984A-5AD89AA1AEDF}" type="sibTrans" cxnId="{3F4A5409-AEEE-4507-B95B-6ADC9E7648B7}">
      <dgm:prSet/>
      <dgm:spPr/>
      <dgm:t>
        <a:bodyPr/>
        <a:lstStyle/>
        <a:p>
          <a:endParaRPr lang="pt-BR"/>
        </a:p>
      </dgm:t>
    </dgm:pt>
    <dgm:pt modelId="{76E17EC1-61E0-46E4-8B53-890607453538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s 7.1/7.2 :: CRM,  Recargas e Inadimplência</a:t>
          </a:r>
          <a:endParaRPr lang="pt-BR" dirty="0">
            <a:latin typeface="Simplon BP Regular" pitchFamily="2" charset="0"/>
          </a:endParaRPr>
        </a:p>
      </dgm:t>
    </dgm:pt>
    <dgm:pt modelId="{B35EE708-5CEA-4D5B-8E7C-BC0764F18771}" type="parTrans" cxnId="{CC0B4A5C-A457-413E-A76F-063792EF05F5}">
      <dgm:prSet/>
      <dgm:spPr/>
      <dgm:t>
        <a:bodyPr/>
        <a:lstStyle/>
        <a:p>
          <a:endParaRPr lang="pt-BR"/>
        </a:p>
      </dgm:t>
    </dgm:pt>
    <dgm:pt modelId="{165B1D6C-9FBC-4CBF-B710-56ECBB6AA444}" type="sibTrans" cxnId="{CC0B4A5C-A457-413E-A76F-063792EF05F5}">
      <dgm:prSet/>
      <dgm:spPr/>
      <dgm:t>
        <a:bodyPr/>
        <a:lstStyle/>
        <a:p>
          <a:endParaRPr lang="pt-BR"/>
        </a:p>
      </dgm:t>
    </dgm:pt>
    <dgm:pt modelId="{359F2D02-C5C3-433F-B152-DB252EAF9EB7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nda 10 :: Oi Controle sem fatura</a:t>
          </a:r>
          <a:endParaRPr lang="pt-BR" dirty="0">
            <a:latin typeface="Simplon BP Regular" pitchFamily="2" charset="0"/>
          </a:endParaRPr>
        </a:p>
      </dgm:t>
    </dgm:pt>
    <dgm:pt modelId="{7739E33E-9BF7-4D26-9646-FD697AF213DF}" type="parTrans" cxnId="{C51AA022-69F5-4BAD-9028-1974E0007035}">
      <dgm:prSet/>
      <dgm:spPr/>
      <dgm:t>
        <a:bodyPr/>
        <a:lstStyle/>
        <a:p>
          <a:endParaRPr lang="pt-BR"/>
        </a:p>
      </dgm:t>
    </dgm:pt>
    <dgm:pt modelId="{CA5E9195-A7FA-4C06-A040-5A3F6AC6195E}" type="sibTrans" cxnId="{C51AA022-69F5-4BAD-9028-1974E0007035}">
      <dgm:prSet/>
      <dgm:spPr/>
      <dgm:t>
        <a:bodyPr/>
        <a:lstStyle/>
        <a:p>
          <a:endParaRPr lang="pt-BR"/>
        </a:p>
      </dgm:t>
    </dgm:pt>
    <dgm:pt modelId="{0822EE73-6FCB-4401-8002-B8A72B03EDFA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e carga CRM Oi (SINN, SIEBEL6.3, SIEBEL8, STC e SAC) incremental e </a:t>
          </a:r>
          <a:r>
            <a:rPr lang="pt-BR" dirty="0" err="1" smtClean="0">
              <a:latin typeface="Simplon BP Regular" pitchFamily="2" charset="0"/>
            </a:rPr>
            <a:t>full</a:t>
          </a:r>
          <a:r>
            <a:rPr lang="pt-BR" dirty="0" smtClean="0">
              <a:latin typeface="Simplon BP Regular" pitchFamily="2" charset="0"/>
            </a:rPr>
            <a:t> </a:t>
          </a:r>
          <a:endParaRPr lang="pt-BR" dirty="0">
            <a:latin typeface="Simplon BP Regular" pitchFamily="2" charset="0"/>
          </a:endParaRPr>
        </a:p>
      </dgm:t>
    </dgm:pt>
    <dgm:pt modelId="{29E39213-BE61-4F6C-B189-20D8D47366B6}" type="parTrans" cxnId="{73D6921D-BE0A-4848-ADC7-3C27D81EF3DA}">
      <dgm:prSet/>
      <dgm:spPr/>
      <dgm:t>
        <a:bodyPr/>
        <a:lstStyle/>
        <a:p>
          <a:endParaRPr lang="pt-BR"/>
        </a:p>
      </dgm:t>
    </dgm:pt>
    <dgm:pt modelId="{8D6E3A77-2292-41AB-9347-F03632B5A2C6}" type="sibTrans" cxnId="{73D6921D-BE0A-4848-ADC7-3C27D81EF3DA}">
      <dgm:prSet/>
      <dgm:spPr/>
      <dgm:t>
        <a:bodyPr/>
        <a:lstStyle/>
        <a:p>
          <a:endParaRPr lang="pt-BR"/>
        </a:p>
      </dgm:t>
    </dgm:pt>
    <dgm:pt modelId="{7EFB80DE-C3E0-4664-8DE5-7967BD82D9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com 31Global</a:t>
          </a:r>
          <a:endParaRPr lang="pt-BR" dirty="0">
            <a:latin typeface="Simplon BP Regular" pitchFamily="2" charset="0"/>
          </a:endParaRPr>
        </a:p>
      </dgm:t>
    </dgm:pt>
    <dgm:pt modelId="{B442FF71-C8B8-4920-A966-01469A2E1B79}" type="parTrans" cxnId="{808D2B1E-7692-421F-A87C-608A59D28967}">
      <dgm:prSet/>
      <dgm:spPr/>
      <dgm:t>
        <a:bodyPr/>
        <a:lstStyle/>
        <a:p>
          <a:endParaRPr lang="pt-BR"/>
        </a:p>
      </dgm:t>
    </dgm:pt>
    <dgm:pt modelId="{A0E7CB7A-4C14-4A8C-BFE1-49276ACD55CD}" type="sibTrans" cxnId="{808D2B1E-7692-421F-A87C-608A59D28967}">
      <dgm:prSet/>
      <dgm:spPr/>
      <dgm:t>
        <a:bodyPr/>
        <a:lstStyle/>
        <a:p>
          <a:endParaRPr lang="pt-BR"/>
        </a:p>
      </dgm:t>
    </dgm:pt>
    <dgm:pt modelId="{D0966F0B-6A79-4570-96B0-1869F96AAE6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de qualidade de vendas</a:t>
          </a:r>
          <a:endParaRPr lang="pt-BR" dirty="0">
            <a:latin typeface="Simplon BP Regular" pitchFamily="2" charset="0"/>
          </a:endParaRPr>
        </a:p>
      </dgm:t>
    </dgm:pt>
    <dgm:pt modelId="{6539CD5A-27C4-41EB-9CCB-5FAF3FC14A61}" type="parTrans" cxnId="{DA95AA11-7F3A-4781-ACFB-B197279057EE}">
      <dgm:prSet/>
      <dgm:spPr/>
      <dgm:t>
        <a:bodyPr/>
        <a:lstStyle/>
        <a:p>
          <a:endParaRPr lang="pt-BR"/>
        </a:p>
      </dgm:t>
    </dgm:pt>
    <dgm:pt modelId="{F35F56E9-F1F1-4016-A37F-AB6441AE16AA}" type="sibTrans" cxnId="{DA95AA11-7F3A-4781-ACFB-B197279057EE}">
      <dgm:prSet/>
      <dgm:spPr/>
      <dgm:t>
        <a:bodyPr/>
        <a:lstStyle/>
        <a:p>
          <a:endParaRPr lang="pt-BR"/>
        </a:p>
      </dgm:t>
    </dgm:pt>
    <dgm:pt modelId="{C5674ACE-2BBD-4A67-B860-7F29C760F25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com recargas de pré-pago</a:t>
          </a:r>
          <a:endParaRPr lang="pt-BR" dirty="0">
            <a:latin typeface="Simplon BP Regular" pitchFamily="2" charset="0"/>
          </a:endParaRPr>
        </a:p>
      </dgm:t>
    </dgm:pt>
    <dgm:pt modelId="{9F501CD1-238B-4E06-BEE5-7FECA3329570}" type="parTrans" cxnId="{A5B78FC1-1B9B-4D03-A13F-67730B713DF9}">
      <dgm:prSet/>
      <dgm:spPr/>
      <dgm:t>
        <a:bodyPr/>
        <a:lstStyle/>
        <a:p>
          <a:endParaRPr lang="pt-BR"/>
        </a:p>
      </dgm:t>
    </dgm:pt>
    <dgm:pt modelId="{5BC61835-A186-4E70-8237-19DDB13A1FF6}" type="sibTrans" cxnId="{A5B78FC1-1B9B-4D03-A13F-67730B713DF9}">
      <dgm:prSet/>
      <dgm:spPr/>
      <dgm:t>
        <a:bodyPr/>
        <a:lstStyle/>
        <a:p>
          <a:endParaRPr lang="pt-BR"/>
        </a:p>
      </dgm:t>
    </dgm:pt>
    <dgm:pt modelId="{506D527F-0F36-45BC-8ACE-853B43AEE5BF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de score de migração </a:t>
          </a:r>
          <a:r>
            <a:rPr lang="pt-BR" dirty="0" err="1" smtClean="0">
              <a:latin typeface="Simplon BP Regular" pitchFamily="2" charset="0"/>
            </a:rPr>
            <a:t>pré-pós</a:t>
          </a:r>
          <a:endParaRPr lang="pt-BR" dirty="0">
            <a:latin typeface="Simplon BP Regular" pitchFamily="2" charset="0"/>
          </a:endParaRPr>
        </a:p>
      </dgm:t>
    </dgm:pt>
    <dgm:pt modelId="{F2BCEA8A-1912-4E6C-8B9B-F80E4BACB27A}" type="parTrans" cxnId="{C0BE8AE5-8CF0-4EAE-898B-7B66E92E8594}">
      <dgm:prSet/>
      <dgm:spPr/>
      <dgm:t>
        <a:bodyPr/>
        <a:lstStyle/>
        <a:p>
          <a:endParaRPr lang="pt-BR"/>
        </a:p>
      </dgm:t>
    </dgm:pt>
    <dgm:pt modelId="{B60A61C2-4EB5-483C-9867-CECF2B85DF75}" type="sibTrans" cxnId="{C0BE8AE5-8CF0-4EAE-898B-7B66E92E8594}">
      <dgm:prSet/>
      <dgm:spPr/>
      <dgm:t>
        <a:bodyPr/>
        <a:lstStyle/>
        <a:p>
          <a:endParaRPr lang="pt-BR"/>
        </a:p>
      </dgm:t>
    </dgm:pt>
    <dgm:pt modelId="{6815642F-7A09-4BD3-87F5-0CC353223A98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e carga com bases de inadimplência.</a:t>
          </a:r>
          <a:endParaRPr lang="pt-BR" dirty="0">
            <a:latin typeface="Simplon BP Regular" pitchFamily="2" charset="0"/>
          </a:endParaRPr>
        </a:p>
      </dgm:t>
    </dgm:pt>
    <dgm:pt modelId="{43C69F4B-741D-4DC3-8A65-4BD0757079A6}" type="parTrans" cxnId="{BC87AF46-54A1-4711-98B4-13E5FAD549D4}">
      <dgm:prSet/>
      <dgm:spPr/>
      <dgm:t>
        <a:bodyPr/>
        <a:lstStyle/>
        <a:p>
          <a:endParaRPr lang="pt-BR"/>
        </a:p>
      </dgm:t>
    </dgm:pt>
    <dgm:pt modelId="{C8C5DAA0-EFAE-4D58-8DA5-719A67F5324C}" type="sibTrans" cxnId="{BC87AF46-54A1-4711-98B4-13E5FAD549D4}">
      <dgm:prSet/>
      <dgm:spPr/>
      <dgm:t>
        <a:bodyPr/>
        <a:lstStyle/>
        <a:p>
          <a:endParaRPr lang="pt-BR"/>
        </a:p>
      </dgm:t>
    </dgm:pt>
    <dgm:pt modelId="{C204AE27-2CB6-4811-8228-EC61C09ECE7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Evolução motor de regras e score online e modelos estatísticos avançados</a:t>
          </a:r>
          <a:endParaRPr lang="pt-BR" dirty="0">
            <a:latin typeface="Simplon BP Regular" pitchFamily="2" charset="0"/>
          </a:endParaRPr>
        </a:p>
      </dgm:t>
    </dgm:pt>
    <dgm:pt modelId="{289CC6EB-5BBA-4EB7-B048-52912C432DB5}" type="parTrans" cxnId="{9C03967A-B4DE-4C74-9198-FBC67E1FF1C2}">
      <dgm:prSet/>
      <dgm:spPr/>
      <dgm:t>
        <a:bodyPr/>
        <a:lstStyle/>
        <a:p>
          <a:endParaRPr lang="pt-BR"/>
        </a:p>
      </dgm:t>
    </dgm:pt>
    <dgm:pt modelId="{CC5A2447-3E4C-4B73-A011-6594A5646DF3}" type="sibTrans" cxnId="{9C03967A-B4DE-4C74-9198-FBC67E1FF1C2}">
      <dgm:prSet/>
      <dgm:spPr/>
      <dgm:t>
        <a:bodyPr/>
        <a:lstStyle/>
        <a:p>
          <a:endParaRPr lang="pt-BR"/>
        </a:p>
      </dgm:t>
    </dgm:pt>
    <dgm:pt modelId="{AE0E33B2-1A70-4018-80E7-22BDFCA365E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com plataforma M4U para tratamento de ativações Oi Controle</a:t>
          </a:r>
          <a:endParaRPr lang="pt-BR" dirty="0">
            <a:latin typeface="Simplon BP Regular" pitchFamily="2" charset="0"/>
          </a:endParaRPr>
        </a:p>
      </dgm:t>
    </dgm:pt>
    <dgm:pt modelId="{E9558E2E-1E13-4F66-A40B-B3EE3A8D7A2D}" type="parTrans" cxnId="{FAFB549E-DA1B-4C9D-BCB4-20376AAE53B9}">
      <dgm:prSet/>
      <dgm:spPr/>
      <dgm:t>
        <a:bodyPr/>
        <a:lstStyle/>
        <a:p>
          <a:endParaRPr lang="pt-BR"/>
        </a:p>
      </dgm:t>
    </dgm:pt>
    <dgm:pt modelId="{E8E036B7-C0B2-415B-8C1F-E21CD2092799}" type="sibTrans" cxnId="{FAFB549E-DA1B-4C9D-BCB4-20376AAE53B9}">
      <dgm:prSet/>
      <dgm:spPr/>
      <dgm:t>
        <a:bodyPr/>
        <a:lstStyle/>
        <a:p>
          <a:endParaRPr lang="pt-BR"/>
        </a:p>
      </dgm:t>
    </dgm:pt>
    <dgm:pt modelId="{884DFA58-43B3-45CB-98CC-5FDA528D5BA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de regras e score baseado no volume de recargas x migração Controle</a:t>
          </a:r>
          <a:endParaRPr lang="pt-BR" dirty="0">
            <a:latin typeface="Simplon BP Regular" pitchFamily="2" charset="0"/>
          </a:endParaRPr>
        </a:p>
      </dgm:t>
    </dgm:pt>
    <dgm:pt modelId="{B6FEB3EC-F959-47D9-BD2E-8AD2170FF81A}" type="parTrans" cxnId="{103E80E3-039F-43F5-924E-A4CD84798CCC}">
      <dgm:prSet/>
      <dgm:spPr/>
      <dgm:t>
        <a:bodyPr/>
        <a:lstStyle/>
        <a:p>
          <a:endParaRPr lang="pt-BR"/>
        </a:p>
      </dgm:t>
    </dgm:pt>
    <dgm:pt modelId="{3F390D4D-3A09-4869-8535-CAC9CFAC0FB2}" type="sibTrans" cxnId="{103E80E3-039F-43F5-924E-A4CD84798CCC}">
      <dgm:prSet/>
      <dgm:spPr/>
      <dgm:t>
        <a:bodyPr/>
        <a:lstStyle/>
        <a:p>
          <a:endParaRPr lang="pt-BR"/>
        </a:p>
      </dgm:t>
    </dgm:pt>
    <dgm:pt modelId="{44E971BB-A104-43A1-AEAE-B1A4871A40CC}">
      <dgm:prSet phldrT="[Texto]"/>
      <dgm:spPr/>
      <dgm:t>
        <a:bodyPr/>
        <a:lstStyle/>
        <a:p>
          <a:endParaRPr lang="pt-BR" dirty="0">
            <a:latin typeface="Simplon BP Regular" pitchFamily="2" charset="0"/>
          </a:endParaRPr>
        </a:p>
      </dgm:t>
    </dgm:pt>
    <dgm:pt modelId="{8E879625-5FCC-42F2-A1B3-DA7AB99D1F5A}" type="parTrans" cxnId="{937197DC-137E-40EB-8E68-91DBF63E407C}">
      <dgm:prSet/>
      <dgm:spPr/>
      <dgm:t>
        <a:bodyPr/>
        <a:lstStyle/>
        <a:p>
          <a:endParaRPr lang="pt-BR"/>
        </a:p>
      </dgm:t>
    </dgm:pt>
    <dgm:pt modelId="{1F6C8D3A-955D-4E51-9097-4486E74C8E76}" type="sibTrans" cxnId="{937197DC-137E-40EB-8E68-91DBF63E407C}">
      <dgm:prSet/>
      <dgm:spPr/>
      <dgm:t>
        <a:bodyPr/>
        <a:lstStyle/>
        <a:p>
          <a:endParaRPr lang="pt-BR"/>
        </a:p>
      </dgm:t>
    </dgm:pt>
    <dgm:pt modelId="{69F988BE-0307-43E0-BDE4-311FD77C85C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com </a:t>
          </a:r>
          <a:r>
            <a:rPr lang="pt-BR" dirty="0" err="1" smtClean="0">
              <a:latin typeface="Simplon BP Regular" pitchFamily="2" charset="0"/>
            </a:rPr>
            <a:t>Clearsale</a:t>
          </a:r>
          <a:r>
            <a:rPr lang="pt-BR" dirty="0" smtClean="0">
              <a:latin typeface="Simplon BP Regular" pitchFamily="2" charset="0"/>
            </a:rPr>
            <a:t> para score de risco Oi Controle</a:t>
          </a:r>
          <a:endParaRPr lang="pt-BR" dirty="0">
            <a:latin typeface="Simplon BP Regular" pitchFamily="2" charset="0"/>
          </a:endParaRPr>
        </a:p>
      </dgm:t>
    </dgm:pt>
    <dgm:pt modelId="{BEE02001-D430-4E52-B4ED-48C7788C3BDD}" type="parTrans" cxnId="{A81B49BC-A7B3-40B0-BDBC-2EF7F2C0E28E}">
      <dgm:prSet/>
      <dgm:spPr/>
      <dgm:t>
        <a:bodyPr/>
        <a:lstStyle/>
        <a:p>
          <a:endParaRPr lang="pt-BR"/>
        </a:p>
      </dgm:t>
    </dgm:pt>
    <dgm:pt modelId="{4A4ED422-539B-4EE6-9D3D-A16D1D2C5AF3}" type="sibTrans" cxnId="{A81B49BC-A7B3-40B0-BDBC-2EF7F2C0E28E}">
      <dgm:prSet/>
      <dgm:spPr/>
      <dgm:t>
        <a:bodyPr/>
        <a:lstStyle/>
        <a:p>
          <a:endParaRPr lang="pt-BR"/>
        </a:p>
      </dgm:t>
    </dgm:pt>
    <dgm:pt modelId="{9A00C785-02EE-4B72-A732-750470EBE37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score de risco </a:t>
          </a:r>
          <a:r>
            <a:rPr lang="pt-BR" dirty="0" err="1" smtClean="0">
              <a:latin typeface="Simplon BP Regular" pitchFamily="2" charset="0"/>
            </a:rPr>
            <a:t>chargeback</a:t>
          </a:r>
          <a:r>
            <a:rPr lang="pt-BR" dirty="0" smtClean="0">
              <a:latin typeface="Simplon BP Regular" pitchFamily="2" charset="0"/>
            </a:rPr>
            <a:t> Oi Controle</a:t>
          </a:r>
          <a:endParaRPr lang="pt-BR" dirty="0">
            <a:latin typeface="Simplon BP Regular" pitchFamily="2" charset="0"/>
          </a:endParaRPr>
        </a:p>
      </dgm:t>
    </dgm:pt>
    <dgm:pt modelId="{61CADA0E-A511-4C60-8D5D-2523E2EC5BA7}" type="parTrans" cxnId="{20F17466-7F4B-4D5F-BA07-1E1A2F9714A8}">
      <dgm:prSet/>
      <dgm:spPr/>
      <dgm:t>
        <a:bodyPr/>
        <a:lstStyle/>
        <a:p>
          <a:endParaRPr lang="pt-BR"/>
        </a:p>
      </dgm:t>
    </dgm:pt>
    <dgm:pt modelId="{008DB081-021B-4A75-BADC-7E6574552B7A}" type="sibTrans" cxnId="{20F17466-7F4B-4D5F-BA07-1E1A2F9714A8}">
      <dgm:prSet/>
      <dgm:spPr/>
      <dgm:t>
        <a:bodyPr/>
        <a:lstStyle/>
        <a:p>
          <a:endParaRPr lang="pt-BR"/>
        </a:p>
      </dgm:t>
    </dgm:pt>
    <dgm:pt modelId="{1A953C86-FA68-4F01-81AF-1D00E0E03B9E}">
      <dgm:prSet phldrT="[Texto]"/>
      <dgm:spPr/>
      <dgm:t>
        <a:bodyPr/>
        <a:lstStyle/>
        <a:p>
          <a:r>
            <a:rPr lang="pt-BR" dirty="0" smtClean="0">
              <a:solidFill>
                <a:srgbClr val="69D170"/>
              </a:solidFill>
              <a:latin typeface="Simplon BP Regular" pitchFamily="2" charset="0"/>
            </a:rPr>
            <a:t>Regras de prevenção Oi Total</a:t>
          </a:r>
          <a:endParaRPr lang="pt-BR" dirty="0">
            <a:solidFill>
              <a:srgbClr val="69D170"/>
            </a:solidFill>
            <a:latin typeface="Simplon BP Regular" pitchFamily="2" charset="0"/>
          </a:endParaRPr>
        </a:p>
      </dgm:t>
    </dgm:pt>
    <dgm:pt modelId="{42ED5881-84A1-4EA3-ACC8-DDF234B45811}" type="parTrans" cxnId="{4D045E20-8EA3-4F11-91D0-D96C18BC67A1}">
      <dgm:prSet/>
      <dgm:spPr/>
      <dgm:t>
        <a:bodyPr/>
        <a:lstStyle/>
        <a:p>
          <a:endParaRPr lang="pt-BR"/>
        </a:p>
      </dgm:t>
    </dgm:pt>
    <dgm:pt modelId="{7C5F8E34-1B0E-4285-B8FC-5F305943EAB2}" type="sibTrans" cxnId="{4D045E20-8EA3-4F11-91D0-D96C18BC67A1}">
      <dgm:prSet/>
      <dgm:spPr/>
      <dgm:t>
        <a:bodyPr/>
        <a:lstStyle/>
        <a:p>
          <a:endParaRPr lang="pt-BR"/>
        </a:p>
      </dgm:t>
    </dgm:pt>
    <dgm:pt modelId="{C32CBEE3-5280-4DA1-8D6F-DB3B59A7934F}">
      <dgm:prSet phldrT="[Texto]"/>
      <dgm:spPr/>
      <dgm:t>
        <a:bodyPr/>
        <a:lstStyle/>
        <a:p>
          <a:r>
            <a:rPr lang="pt-BR" dirty="0" smtClean="0">
              <a:solidFill>
                <a:srgbClr val="69D170"/>
              </a:solidFill>
              <a:latin typeface="Simplon BP Regular" pitchFamily="2" charset="0"/>
            </a:rPr>
            <a:t>Motor de qualidade do telefone de contato e endereço confiável</a:t>
          </a:r>
          <a:endParaRPr lang="pt-BR" dirty="0">
            <a:solidFill>
              <a:srgbClr val="69D170"/>
            </a:solidFill>
            <a:latin typeface="Simplon BP Regular" pitchFamily="2" charset="0"/>
          </a:endParaRPr>
        </a:p>
      </dgm:t>
    </dgm:pt>
    <dgm:pt modelId="{7E50685B-9E55-4C9E-903D-4B09AD15593C}" type="parTrans" cxnId="{42D3AB5D-9A16-4579-9954-E60A219F6099}">
      <dgm:prSet/>
      <dgm:spPr/>
      <dgm:t>
        <a:bodyPr/>
        <a:lstStyle/>
        <a:p>
          <a:endParaRPr lang="pt-BR"/>
        </a:p>
      </dgm:t>
    </dgm:pt>
    <dgm:pt modelId="{231B5327-770F-4EC0-890C-A0F3B4042155}" type="sibTrans" cxnId="{42D3AB5D-9A16-4579-9954-E60A219F6099}">
      <dgm:prSet/>
      <dgm:spPr/>
      <dgm:t>
        <a:bodyPr/>
        <a:lstStyle/>
        <a:p>
          <a:endParaRPr lang="pt-BR"/>
        </a:p>
      </dgm:t>
    </dgm:pt>
    <dgm:pt modelId="{BD8EEC94-8C93-4007-8AC1-E7B6BEF32411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tegração com todas as 15 fontes de dados conhecidas e utilizadas pela prevenção a fraude.</a:t>
          </a:r>
          <a:endParaRPr lang="pt-BR" dirty="0">
            <a:latin typeface="Simplon BP Regular" pitchFamily="2" charset="0"/>
          </a:endParaRPr>
        </a:p>
      </dgm:t>
    </dgm:pt>
    <dgm:pt modelId="{EEE7C294-D91C-4454-8794-29DED61414F2}" type="parTrans" cxnId="{C5E1C566-FEFE-440C-85AD-B82360B3B473}">
      <dgm:prSet/>
      <dgm:spPr/>
      <dgm:t>
        <a:bodyPr/>
        <a:lstStyle/>
        <a:p>
          <a:endParaRPr lang="pt-BR"/>
        </a:p>
      </dgm:t>
    </dgm:pt>
    <dgm:pt modelId="{FEAC9DC2-4F1F-46D1-B646-0DA4A730452E}" type="sibTrans" cxnId="{C5E1C566-FEFE-440C-85AD-B82360B3B473}">
      <dgm:prSet/>
      <dgm:spPr/>
      <dgm:t>
        <a:bodyPr/>
        <a:lstStyle/>
        <a:p>
          <a:endParaRPr lang="pt-BR"/>
        </a:p>
      </dgm:t>
    </dgm:pt>
    <dgm:pt modelId="{242C8834-AB7F-4509-91CC-D9E31599D2E2}">
      <dgm:prSet phldrT="[Texto]"/>
      <dgm:spPr/>
      <dgm:t>
        <a:bodyPr/>
        <a:lstStyle/>
        <a:p>
          <a:r>
            <a:rPr lang="pt-BR" dirty="0" smtClean="0">
              <a:solidFill>
                <a:schemeClr val="accent4">
                  <a:lumMod val="75000"/>
                </a:schemeClr>
              </a:solidFill>
              <a:latin typeface="Simplon BP Regular" pitchFamily="2" charset="0"/>
            </a:rPr>
            <a:t>Regras de prevenção Oi Fibra</a:t>
          </a:r>
          <a:endParaRPr lang="pt-BR" dirty="0">
            <a:solidFill>
              <a:schemeClr val="accent4">
                <a:lumMod val="75000"/>
              </a:schemeClr>
            </a:solidFill>
            <a:latin typeface="Simplon BP Regular" pitchFamily="2" charset="0"/>
          </a:endParaRPr>
        </a:p>
      </dgm:t>
    </dgm:pt>
    <dgm:pt modelId="{4110DC99-ED8C-4A2E-80A7-5F77C01EB917}" type="parTrans" cxnId="{A8705E32-79C8-4CE5-BA93-5AEEEB6E869B}">
      <dgm:prSet/>
      <dgm:spPr/>
      <dgm:t>
        <a:bodyPr/>
        <a:lstStyle/>
        <a:p>
          <a:endParaRPr lang="pt-BR"/>
        </a:p>
      </dgm:t>
    </dgm:pt>
    <dgm:pt modelId="{1A13AF54-3939-4330-8E00-B1FFDFA7376C}" type="sibTrans" cxnId="{A8705E32-79C8-4CE5-BA93-5AEEEB6E869B}">
      <dgm:prSet/>
      <dgm:spPr/>
      <dgm:t>
        <a:bodyPr/>
        <a:lstStyle/>
        <a:p>
          <a:endParaRPr lang="pt-BR"/>
        </a:p>
      </dgm:t>
    </dgm:pt>
    <dgm:pt modelId="{2511B857-75E8-4508-947F-D36D1C34CDDE}">
      <dgm:prSet phldrT="[Texto]"/>
      <dgm:spPr/>
      <dgm:t>
        <a:bodyPr/>
        <a:lstStyle/>
        <a:p>
          <a:r>
            <a:rPr lang="pt-BR" dirty="0" smtClean="0">
              <a:solidFill>
                <a:schemeClr val="accent4">
                  <a:lumMod val="75000"/>
                </a:schemeClr>
              </a:solidFill>
              <a:latin typeface="Simplon BP Regular" pitchFamily="2" charset="0"/>
            </a:rPr>
            <a:t>Novas telas de operação de crédito (ganho de produtividade no tratamento de propostas derivadas),  relatórios de gestão,</a:t>
          </a:r>
          <a:endParaRPr lang="pt-BR" dirty="0">
            <a:solidFill>
              <a:schemeClr val="accent4">
                <a:lumMod val="75000"/>
              </a:schemeClr>
            </a:solidFill>
            <a:latin typeface="Simplon BP Regular" pitchFamily="2" charset="0"/>
          </a:endParaRPr>
        </a:p>
      </dgm:t>
    </dgm:pt>
    <dgm:pt modelId="{9FA417BB-1D00-4F11-8D86-B64C81F010AB}" type="parTrans" cxnId="{610DC9F2-6C63-435D-A8EB-3118588DAEEA}">
      <dgm:prSet/>
      <dgm:spPr/>
      <dgm:t>
        <a:bodyPr/>
        <a:lstStyle/>
        <a:p>
          <a:endParaRPr lang="pt-BR"/>
        </a:p>
      </dgm:t>
    </dgm:pt>
    <dgm:pt modelId="{B9CB9BED-9812-4261-8581-95AF464159CB}" type="sibTrans" cxnId="{610DC9F2-6C63-435D-A8EB-3118588DAEEA}">
      <dgm:prSet/>
      <dgm:spPr/>
      <dgm:t>
        <a:bodyPr/>
        <a:lstStyle/>
        <a:p>
          <a:endParaRPr lang="pt-BR"/>
        </a:p>
      </dgm:t>
    </dgm:pt>
    <dgm:pt modelId="{191FD3DD-0DD5-4821-A4B7-7DAF7B97615A}">
      <dgm:prSet phldrT="[Texto]"/>
      <dgm:spPr/>
      <dgm:t>
        <a:bodyPr/>
        <a:lstStyle/>
        <a:p>
          <a:r>
            <a:rPr lang="pt-BR" dirty="0" smtClean="0">
              <a:solidFill>
                <a:srgbClr val="FF954D"/>
              </a:solidFill>
              <a:latin typeface="Simplon BP Regular" pitchFamily="2" charset="0"/>
            </a:rPr>
            <a:t>Integração e carga base </a:t>
          </a:r>
          <a:r>
            <a:rPr lang="pt-BR" dirty="0" err="1" smtClean="0">
              <a:solidFill>
                <a:srgbClr val="FF954D"/>
              </a:solidFill>
              <a:latin typeface="Simplon BP Regular" pitchFamily="2" charset="0"/>
            </a:rPr>
            <a:t>Transact</a:t>
          </a:r>
          <a:endParaRPr lang="pt-BR" dirty="0">
            <a:latin typeface="Simplon BP Regular" pitchFamily="2" charset="0"/>
          </a:endParaRPr>
        </a:p>
      </dgm:t>
    </dgm:pt>
    <dgm:pt modelId="{2E058987-6CE2-404F-A3E2-1DB9E2455F2B}" type="parTrans" cxnId="{C1E2ADB8-2FE4-4980-82B5-808B1F1129B2}">
      <dgm:prSet/>
      <dgm:spPr/>
      <dgm:t>
        <a:bodyPr/>
        <a:lstStyle/>
        <a:p>
          <a:endParaRPr lang="pt-BR"/>
        </a:p>
      </dgm:t>
    </dgm:pt>
    <dgm:pt modelId="{21614659-2170-439D-AC66-073B9777DEF3}" type="sibTrans" cxnId="{C1E2ADB8-2FE4-4980-82B5-808B1F1129B2}">
      <dgm:prSet/>
      <dgm:spPr/>
      <dgm:t>
        <a:bodyPr/>
        <a:lstStyle/>
        <a:p>
          <a:endParaRPr lang="pt-BR"/>
        </a:p>
      </dgm:t>
    </dgm:pt>
    <dgm:pt modelId="{E7695ECB-7706-4AA4-B93F-360B8A688CBC}">
      <dgm:prSet phldrT="[Texto]"/>
      <dgm:spPr/>
      <dgm:t>
        <a:bodyPr/>
        <a:lstStyle/>
        <a:p>
          <a:r>
            <a:rPr lang="pt-BR" dirty="0" smtClean="0">
              <a:solidFill>
                <a:srgbClr val="00B0F0"/>
              </a:solidFill>
              <a:latin typeface="Simplon BP Regular" pitchFamily="2" charset="0"/>
            </a:rPr>
            <a:t>Carga de arquivos </a:t>
          </a:r>
          <a:r>
            <a:rPr lang="pt-BR" dirty="0" err="1" smtClean="0">
              <a:solidFill>
                <a:srgbClr val="00B0F0"/>
              </a:solidFill>
              <a:latin typeface="Simplon BP Regular" pitchFamily="2" charset="0"/>
            </a:rPr>
            <a:t>Churn</a:t>
          </a:r>
          <a:r>
            <a:rPr lang="pt-BR" dirty="0" smtClean="0">
              <a:solidFill>
                <a:srgbClr val="00B0F0"/>
              </a:solidFill>
              <a:latin typeface="Simplon BP Regular" pitchFamily="2" charset="0"/>
            </a:rPr>
            <a:t>, CEP, CPF e telefone</a:t>
          </a:r>
          <a:r>
            <a:rPr lang="pt-BR" dirty="0" smtClean="0">
              <a:solidFill>
                <a:schemeClr val="accent4">
                  <a:lumMod val="75000"/>
                </a:schemeClr>
              </a:solidFill>
              <a:latin typeface="Simplon BP Regular" pitchFamily="2" charset="0"/>
            </a:rPr>
            <a:t>.</a:t>
          </a:r>
          <a:endParaRPr lang="pt-BR" dirty="0">
            <a:solidFill>
              <a:srgbClr val="00B0F0"/>
            </a:solidFill>
            <a:latin typeface="Simplon BP Regular" pitchFamily="2" charset="0"/>
          </a:endParaRPr>
        </a:p>
      </dgm:t>
    </dgm:pt>
    <dgm:pt modelId="{AFCCDECD-D62E-47D7-936C-E9984964F863}" type="parTrans" cxnId="{33A52503-D613-472A-A30D-CC94BF0D577C}">
      <dgm:prSet/>
      <dgm:spPr/>
      <dgm:t>
        <a:bodyPr/>
        <a:lstStyle/>
        <a:p>
          <a:endParaRPr lang="pt-BR"/>
        </a:p>
      </dgm:t>
    </dgm:pt>
    <dgm:pt modelId="{4E815376-6DB8-44A0-A24C-80EBCA0AF5F9}" type="sibTrans" cxnId="{33A52503-D613-472A-A30D-CC94BF0D577C}">
      <dgm:prSet/>
      <dgm:spPr/>
      <dgm:t>
        <a:bodyPr/>
        <a:lstStyle/>
        <a:p>
          <a:endParaRPr lang="pt-BR"/>
        </a:p>
      </dgm:t>
    </dgm:pt>
    <dgm:pt modelId="{1B4864DB-6B68-4E91-887E-4D6A1434C641}">
      <dgm:prSet phldrT="[Texto]"/>
      <dgm:spPr/>
      <dgm:t>
        <a:bodyPr/>
        <a:lstStyle/>
        <a:p>
          <a:r>
            <a:rPr lang="pt-BR" dirty="0" smtClean="0">
              <a:solidFill>
                <a:srgbClr val="00B0F0"/>
              </a:solidFill>
              <a:latin typeface="Simplon BP Regular" pitchFamily="2" charset="0"/>
            </a:rPr>
            <a:t>Discador automático e carga de histórico de contatos</a:t>
          </a:r>
          <a:endParaRPr lang="pt-BR" dirty="0">
            <a:solidFill>
              <a:srgbClr val="00B0F0"/>
            </a:solidFill>
            <a:latin typeface="Simplon BP Regular" pitchFamily="2" charset="0"/>
          </a:endParaRPr>
        </a:p>
      </dgm:t>
    </dgm:pt>
    <dgm:pt modelId="{2A77BEB2-4CF8-417F-8979-079AB2696448}" type="parTrans" cxnId="{6CD500D8-CD3B-4621-9791-6528ED62B299}">
      <dgm:prSet/>
      <dgm:spPr/>
      <dgm:t>
        <a:bodyPr/>
        <a:lstStyle/>
        <a:p>
          <a:endParaRPr lang="pt-BR"/>
        </a:p>
      </dgm:t>
    </dgm:pt>
    <dgm:pt modelId="{2D05D82B-B961-428D-9D08-AA5E929CF8AA}" type="sibTrans" cxnId="{6CD500D8-CD3B-4621-9791-6528ED62B299}">
      <dgm:prSet/>
      <dgm:spPr/>
      <dgm:t>
        <a:bodyPr/>
        <a:lstStyle/>
        <a:p>
          <a:endParaRPr lang="pt-BR"/>
        </a:p>
      </dgm:t>
    </dgm:pt>
    <dgm:pt modelId="{19586DFF-0A0B-4D12-8DB7-77B6E3342D15}">
      <dgm:prSet phldrT="[Texto]"/>
      <dgm:spPr/>
      <dgm:t>
        <a:bodyPr/>
        <a:lstStyle/>
        <a:p>
          <a:r>
            <a:rPr lang="pt-BR" dirty="0" smtClean="0">
              <a:solidFill>
                <a:srgbClr val="69D170"/>
              </a:solidFill>
              <a:latin typeface="Simplon BP Regular" pitchFamily="2" charset="0"/>
            </a:rPr>
            <a:t>Modelos estatísticos avançados </a:t>
          </a:r>
          <a:endParaRPr lang="pt-BR" dirty="0">
            <a:latin typeface="Simplon BP Regular" pitchFamily="2" charset="0"/>
          </a:endParaRPr>
        </a:p>
      </dgm:t>
    </dgm:pt>
    <dgm:pt modelId="{0CC6693C-2553-44F0-8627-DA21C9471F7C}" type="parTrans" cxnId="{553F66CE-7FA3-4F90-A9E8-3CC9AFC5A54A}">
      <dgm:prSet/>
      <dgm:spPr/>
      <dgm:t>
        <a:bodyPr/>
        <a:lstStyle/>
        <a:p>
          <a:endParaRPr lang="pt-BR"/>
        </a:p>
      </dgm:t>
    </dgm:pt>
    <dgm:pt modelId="{50F9E765-EEE4-4623-8FDF-9CB77AE228BA}" type="sibTrans" cxnId="{553F66CE-7FA3-4F90-A9E8-3CC9AFC5A54A}">
      <dgm:prSet/>
      <dgm:spPr/>
      <dgm:t>
        <a:bodyPr/>
        <a:lstStyle/>
        <a:p>
          <a:endParaRPr lang="pt-BR"/>
        </a:p>
      </dgm:t>
    </dgm:pt>
    <dgm:pt modelId="{2B6C3714-FFBE-42DB-A37C-32C936B10BDF}">
      <dgm:prSet phldrT="[Texto]"/>
      <dgm:spPr/>
      <dgm:t>
        <a:bodyPr/>
        <a:lstStyle/>
        <a:p>
          <a:endParaRPr lang="pt-BR" dirty="0">
            <a:latin typeface="Simplon BP Regular" pitchFamily="2" charset="0"/>
          </a:endParaRPr>
        </a:p>
      </dgm:t>
    </dgm:pt>
    <dgm:pt modelId="{17290D13-E21B-4205-BCEB-1BB55018B5DD}" type="parTrans" cxnId="{BDB8A84C-3E00-4788-AFC3-101AAD467CC6}">
      <dgm:prSet/>
      <dgm:spPr/>
      <dgm:t>
        <a:bodyPr/>
        <a:lstStyle/>
        <a:p>
          <a:endParaRPr lang="pt-BR"/>
        </a:p>
      </dgm:t>
    </dgm:pt>
    <dgm:pt modelId="{100F0325-32D3-4B0C-AEFF-E461BC9B43AB}" type="sibTrans" cxnId="{BDB8A84C-3E00-4788-AFC3-101AAD467CC6}">
      <dgm:prSet/>
      <dgm:spPr/>
      <dgm:t>
        <a:bodyPr/>
        <a:lstStyle/>
        <a:p>
          <a:endParaRPr lang="pt-BR"/>
        </a:p>
      </dgm:t>
    </dgm:pt>
    <dgm:pt modelId="{B55B61B6-189E-49E8-AB1D-6FD8D3F670D5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otor score online (</a:t>
          </a:r>
          <a:r>
            <a:rPr lang="pt-BR" dirty="0" smtClean="0">
              <a:solidFill>
                <a:srgbClr val="00B0F0"/>
              </a:solidFill>
              <a:latin typeface="Simplon BP Regular" pitchFamily="2" charset="0"/>
            </a:rPr>
            <a:t>+regras de convivência off-line</a:t>
          </a:r>
          <a:r>
            <a:rPr lang="pt-BR" dirty="0" smtClean="0">
              <a:latin typeface="Simplon BP Regular" pitchFamily="2" charset="0"/>
            </a:rPr>
            <a:t>)</a:t>
          </a:r>
          <a:endParaRPr lang="pt-BR" dirty="0">
            <a:solidFill>
              <a:srgbClr val="00B0F0"/>
            </a:solidFill>
            <a:latin typeface="Simplon BP Regular" pitchFamily="2" charset="0"/>
          </a:endParaRPr>
        </a:p>
      </dgm:t>
    </dgm:pt>
    <dgm:pt modelId="{C5BF8ACB-3E9F-4397-9618-B53B22ED2417}" type="parTrans" cxnId="{DBD0FE0D-00D2-43B8-BE55-183DF20070AA}">
      <dgm:prSet/>
      <dgm:spPr/>
      <dgm:t>
        <a:bodyPr/>
        <a:lstStyle/>
        <a:p>
          <a:endParaRPr lang="pt-BR"/>
        </a:p>
      </dgm:t>
    </dgm:pt>
    <dgm:pt modelId="{AB6A64AC-7DCB-4102-8AE5-A54F6244B857}" type="sibTrans" cxnId="{DBD0FE0D-00D2-43B8-BE55-183DF20070AA}">
      <dgm:prSet/>
      <dgm:spPr/>
      <dgm:t>
        <a:bodyPr/>
        <a:lstStyle/>
        <a:p>
          <a:endParaRPr lang="pt-BR"/>
        </a:p>
      </dgm:t>
    </dgm:pt>
    <dgm:pt modelId="{7297EAAD-EA37-4B3B-A7F8-95086ED6B8C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Evolução do Portal de alarmes e novos relatórios Prevenção a fraudes</a:t>
          </a:r>
          <a:endParaRPr lang="pt-BR" dirty="0">
            <a:latin typeface="Simplon BP Regular" pitchFamily="2" charset="0"/>
          </a:endParaRPr>
        </a:p>
      </dgm:t>
    </dgm:pt>
    <dgm:pt modelId="{0A587307-950C-4978-BE10-0CB6AF272C7E}" type="parTrans" cxnId="{2365AB93-B411-43E2-8C4D-EDA9562B876A}">
      <dgm:prSet/>
      <dgm:spPr/>
      <dgm:t>
        <a:bodyPr/>
        <a:lstStyle/>
        <a:p>
          <a:endParaRPr lang="pt-BR"/>
        </a:p>
      </dgm:t>
    </dgm:pt>
    <dgm:pt modelId="{AC297AB8-6269-45A9-BFB8-2D60BB3AE060}" type="sibTrans" cxnId="{2365AB93-B411-43E2-8C4D-EDA9562B876A}">
      <dgm:prSet/>
      <dgm:spPr/>
      <dgm:t>
        <a:bodyPr/>
        <a:lstStyle/>
        <a:p>
          <a:endParaRPr lang="pt-BR"/>
        </a:p>
      </dgm:t>
    </dgm:pt>
    <dgm:pt modelId="{FBA1680C-BF12-4E2C-8DE1-D37DB94AABD9}">
      <dgm:prSet phldrT="[Texto]"/>
      <dgm:spPr/>
      <dgm:t>
        <a:bodyPr/>
        <a:lstStyle/>
        <a:p>
          <a:r>
            <a:rPr lang="pt-BR" dirty="0" smtClean="0">
              <a:solidFill>
                <a:srgbClr val="69D170"/>
              </a:solidFill>
              <a:latin typeface="Simplon BP Regular" pitchFamily="2" charset="0"/>
            </a:rPr>
            <a:t>Integração DW cadastro</a:t>
          </a:r>
          <a:endParaRPr lang="pt-BR" dirty="0">
            <a:latin typeface="Simplon BP Regular" pitchFamily="2" charset="0"/>
          </a:endParaRPr>
        </a:p>
      </dgm:t>
    </dgm:pt>
    <dgm:pt modelId="{6C82B829-09BD-4645-BE2C-A93D9AC263C9}" type="parTrans" cxnId="{EBCF130B-6572-4AF1-8018-829711DAB475}">
      <dgm:prSet/>
      <dgm:spPr/>
      <dgm:t>
        <a:bodyPr/>
        <a:lstStyle/>
        <a:p>
          <a:endParaRPr lang="pt-BR"/>
        </a:p>
      </dgm:t>
    </dgm:pt>
    <dgm:pt modelId="{4737020E-32FA-4B28-81AF-B92D408422C1}" type="sibTrans" cxnId="{EBCF130B-6572-4AF1-8018-829711DAB475}">
      <dgm:prSet/>
      <dgm:spPr/>
      <dgm:t>
        <a:bodyPr/>
        <a:lstStyle/>
        <a:p>
          <a:endParaRPr lang="pt-BR"/>
        </a:p>
      </dgm:t>
    </dgm:pt>
    <dgm:pt modelId="{56566524-9D43-4B77-B277-8AA9CB542D48}">
      <dgm:prSet phldrT="[Texto]"/>
      <dgm:spPr/>
      <dgm:t>
        <a:bodyPr/>
        <a:lstStyle/>
        <a:p>
          <a:endParaRPr lang="pt-BR" dirty="0">
            <a:latin typeface="Simplon BP Regular" pitchFamily="2" charset="0"/>
          </a:endParaRPr>
        </a:p>
      </dgm:t>
    </dgm:pt>
    <dgm:pt modelId="{6417FBFE-3349-4907-B148-03F4ACD8731D}" type="parTrans" cxnId="{BA722989-4008-4EBA-AF99-2F5A21B1C81D}">
      <dgm:prSet/>
      <dgm:spPr/>
      <dgm:t>
        <a:bodyPr/>
        <a:lstStyle/>
        <a:p>
          <a:endParaRPr lang="pt-BR"/>
        </a:p>
      </dgm:t>
    </dgm:pt>
    <dgm:pt modelId="{24A46E49-005D-4DCA-8848-F8D99CDEA0BD}" type="sibTrans" cxnId="{BA722989-4008-4EBA-AF99-2F5A21B1C81D}">
      <dgm:prSet/>
      <dgm:spPr/>
      <dgm:t>
        <a:bodyPr/>
        <a:lstStyle/>
        <a:p>
          <a:endParaRPr lang="pt-BR"/>
        </a:p>
      </dgm:t>
    </dgm:pt>
    <dgm:pt modelId="{B9C68F30-3E4D-464E-9E1E-D8A62CAB573C}">
      <dgm:prSet phldrT="[Texto]"/>
      <dgm:spPr/>
      <dgm:t>
        <a:bodyPr/>
        <a:lstStyle/>
        <a:p>
          <a:endParaRPr lang="pt-BR" dirty="0">
            <a:latin typeface="Simplon BP Regular" pitchFamily="2" charset="0"/>
          </a:endParaRPr>
        </a:p>
      </dgm:t>
    </dgm:pt>
    <dgm:pt modelId="{6BAFD958-DBC0-4BEE-B457-6ADF1B67FBE2}" type="parTrans" cxnId="{D59CC35E-BCEC-43E9-8893-92013E549475}">
      <dgm:prSet/>
      <dgm:spPr/>
      <dgm:t>
        <a:bodyPr/>
        <a:lstStyle/>
        <a:p>
          <a:endParaRPr lang="pt-BR"/>
        </a:p>
      </dgm:t>
    </dgm:pt>
    <dgm:pt modelId="{1EAC4A10-0CB3-4857-BBA6-CCC7F1162849}" type="sibTrans" cxnId="{D59CC35E-BCEC-43E9-8893-92013E549475}">
      <dgm:prSet/>
      <dgm:spPr/>
      <dgm:t>
        <a:bodyPr/>
        <a:lstStyle/>
        <a:p>
          <a:endParaRPr lang="pt-BR"/>
        </a:p>
      </dgm:t>
    </dgm:pt>
    <dgm:pt modelId="{65993113-0329-40F0-9880-39F12287F0F1}">
      <dgm:prSet phldrT="[Texto]"/>
      <dgm:spPr/>
      <dgm:t>
        <a:bodyPr/>
        <a:lstStyle/>
        <a:p>
          <a:endParaRPr lang="pt-BR" dirty="0">
            <a:solidFill>
              <a:srgbClr val="69D170"/>
            </a:solidFill>
            <a:latin typeface="Simplon BP Regular" pitchFamily="2" charset="0"/>
          </a:endParaRPr>
        </a:p>
      </dgm:t>
    </dgm:pt>
    <dgm:pt modelId="{E15574AF-A870-4352-9A56-29E4C6485D04}" type="parTrans" cxnId="{ACE5EEB7-F5C2-41D1-AA67-9751AE74835B}">
      <dgm:prSet/>
      <dgm:spPr/>
      <dgm:t>
        <a:bodyPr/>
        <a:lstStyle/>
        <a:p>
          <a:endParaRPr lang="pt-BR"/>
        </a:p>
      </dgm:t>
    </dgm:pt>
    <dgm:pt modelId="{29F95696-8F84-4DFF-AA1C-188EFDB54E93}" type="sibTrans" cxnId="{ACE5EEB7-F5C2-41D1-AA67-9751AE74835B}">
      <dgm:prSet/>
      <dgm:spPr/>
      <dgm:t>
        <a:bodyPr/>
        <a:lstStyle/>
        <a:p>
          <a:endParaRPr lang="pt-BR"/>
        </a:p>
      </dgm:t>
    </dgm:pt>
    <dgm:pt modelId="{DDC54FC7-B258-469C-9F1A-ABB00425B0DC}">
      <dgm:prSet phldrT="[Texto]"/>
      <dgm:spPr/>
      <dgm:t>
        <a:bodyPr/>
        <a:lstStyle/>
        <a:p>
          <a:r>
            <a:rPr lang="pt-BR" dirty="0" smtClean="0">
              <a:solidFill>
                <a:schemeClr val="accent4">
                  <a:lumMod val="75000"/>
                </a:schemeClr>
              </a:solidFill>
              <a:latin typeface="Simplon BP Regular" pitchFamily="2" charset="0"/>
            </a:rPr>
            <a:t> </a:t>
          </a:r>
          <a:r>
            <a:rPr lang="pt-BR" dirty="0" smtClean="0">
              <a:solidFill>
                <a:srgbClr val="00B0F0"/>
              </a:solidFill>
              <a:latin typeface="Simplon BP Regular" pitchFamily="2" charset="0"/>
            </a:rPr>
            <a:t>migração de histórico de tratamento</a:t>
          </a:r>
          <a:endParaRPr lang="pt-BR" dirty="0">
            <a:solidFill>
              <a:schemeClr val="accent4">
                <a:lumMod val="75000"/>
              </a:schemeClr>
            </a:solidFill>
            <a:latin typeface="Simplon BP Regular" pitchFamily="2" charset="0"/>
          </a:endParaRPr>
        </a:p>
      </dgm:t>
    </dgm:pt>
    <dgm:pt modelId="{24ED4706-0AB8-46ED-A708-7D32C31DAB69}" type="parTrans" cxnId="{23F426B3-73B5-4677-BC7D-92AA43CC5049}">
      <dgm:prSet/>
      <dgm:spPr/>
      <dgm:t>
        <a:bodyPr/>
        <a:lstStyle/>
        <a:p>
          <a:endParaRPr lang="pt-BR"/>
        </a:p>
      </dgm:t>
    </dgm:pt>
    <dgm:pt modelId="{0F92D7EC-01E2-4E7B-B27B-F9E36F2988C4}" type="sibTrans" cxnId="{23F426B3-73B5-4677-BC7D-92AA43CC5049}">
      <dgm:prSet/>
      <dgm:spPr/>
      <dgm:t>
        <a:bodyPr/>
        <a:lstStyle/>
        <a:p>
          <a:endParaRPr lang="pt-BR"/>
        </a:p>
      </dgm:t>
    </dgm:pt>
    <dgm:pt modelId="{1F34758D-BD38-4442-9E36-B65C8E9EEEDE}">
      <dgm:prSet phldrT="[Texto]"/>
      <dgm:spPr/>
      <dgm:t>
        <a:bodyPr/>
        <a:lstStyle/>
        <a:p>
          <a:endParaRPr lang="pt-BR" dirty="0">
            <a:solidFill>
              <a:srgbClr val="00B0F0"/>
            </a:solidFill>
            <a:latin typeface="Simplon BP Regular" pitchFamily="2" charset="0"/>
          </a:endParaRPr>
        </a:p>
      </dgm:t>
    </dgm:pt>
    <dgm:pt modelId="{BC061464-92FC-4100-892B-73CB27F7147A}" type="parTrans" cxnId="{2746FAAF-8B5F-43D8-8215-A0A549B649D8}">
      <dgm:prSet/>
      <dgm:spPr/>
      <dgm:t>
        <a:bodyPr/>
        <a:lstStyle/>
        <a:p>
          <a:endParaRPr lang="pt-BR"/>
        </a:p>
      </dgm:t>
    </dgm:pt>
    <dgm:pt modelId="{A58D3125-019E-4AF1-ABF9-A48522D71517}" type="sibTrans" cxnId="{2746FAAF-8B5F-43D8-8215-A0A549B649D8}">
      <dgm:prSet/>
      <dgm:spPr/>
      <dgm:t>
        <a:bodyPr/>
        <a:lstStyle/>
        <a:p>
          <a:endParaRPr lang="pt-BR"/>
        </a:p>
      </dgm:t>
    </dgm:pt>
    <dgm:pt modelId="{52DFF8A8-2F7E-4EFC-BD99-8C7A7FC7CEBD}">
      <dgm:prSet phldrT="[Texto]"/>
      <dgm:spPr/>
      <dgm:t>
        <a:bodyPr/>
        <a:lstStyle/>
        <a:p>
          <a:endParaRPr lang="pt-BR" dirty="0">
            <a:solidFill>
              <a:schemeClr val="accent4">
                <a:lumMod val="75000"/>
              </a:schemeClr>
            </a:solidFill>
            <a:latin typeface="Simplon BP Regular" pitchFamily="2" charset="0"/>
          </a:endParaRPr>
        </a:p>
      </dgm:t>
    </dgm:pt>
    <dgm:pt modelId="{468B93CB-4DEA-4927-8BDB-B610F26EBE7D}" type="parTrans" cxnId="{7FB181DB-5258-482A-B35F-1033591094FB}">
      <dgm:prSet/>
      <dgm:spPr/>
      <dgm:t>
        <a:bodyPr/>
        <a:lstStyle/>
        <a:p>
          <a:endParaRPr lang="pt-BR"/>
        </a:p>
      </dgm:t>
    </dgm:pt>
    <dgm:pt modelId="{1767BF81-C400-499D-9BF2-1709CBC41373}" type="sibTrans" cxnId="{7FB181DB-5258-482A-B35F-1033591094FB}">
      <dgm:prSet/>
      <dgm:spPr/>
      <dgm:t>
        <a:bodyPr/>
        <a:lstStyle/>
        <a:p>
          <a:endParaRPr lang="pt-BR"/>
        </a:p>
      </dgm:t>
    </dgm:pt>
    <dgm:pt modelId="{ACF87BA0-827E-4067-A56D-21C8EBED5E85}" type="pres">
      <dgm:prSet presAssocID="{62336337-2256-44E8-BEDF-0D21DDDF7D43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C6C43FEE-5274-496D-8589-E739FE48E676}" type="pres">
      <dgm:prSet presAssocID="{C2C72F27-2098-4705-897B-44A484D71828}" presName="composite" presStyleCnt="0"/>
      <dgm:spPr/>
    </dgm:pt>
    <dgm:pt modelId="{AADE1378-D8A4-48EE-A826-5E644960EB3B}" type="pres">
      <dgm:prSet presAssocID="{C2C72F27-2098-4705-897B-44A484D71828}" presName="par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A705A68-C9BC-403B-93F4-E7F1CB006A9D}" type="pres">
      <dgm:prSet presAssocID="{C2C72F27-2098-4705-897B-44A484D71828}" presName="parSh" presStyleLbl="node1" presStyleIdx="0" presStyleCnt="4"/>
      <dgm:spPr/>
      <dgm:t>
        <a:bodyPr/>
        <a:lstStyle/>
        <a:p>
          <a:endParaRPr lang="pt-BR"/>
        </a:p>
      </dgm:t>
    </dgm:pt>
    <dgm:pt modelId="{128CEE05-57CC-4C50-B4DA-497A9518C86D}" type="pres">
      <dgm:prSet presAssocID="{C2C72F27-2098-4705-897B-44A484D71828}" presName="desTx" presStyleLbl="fgAcc1" presStyleIdx="0" presStyleCnt="4" custScaleX="10040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AE79DA8-096B-4864-B765-C027EED0FC91}" type="pres">
      <dgm:prSet presAssocID="{8502707A-B1C2-4D59-9033-D39348DDF64B}" presName="sibTrans" presStyleLbl="sibTrans2D1" presStyleIdx="0" presStyleCnt="3"/>
      <dgm:spPr/>
      <dgm:t>
        <a:bodyPr/>
        <a:lstStyle/>
        <a:p>
          <a:endParaRPr lang="pt-BR"/>
        </a:p>
      </dgm:t>
    </dgm:pt>
    <dgm:pt modelId="{ADE21065-ADA0-488A-A9E9-714DC420FA32}" type="pres">
      <dgm:prSet presAssocID="{8502707A-B1C2-4D59-9033-D39348DDF64B}" presName="connTx" presStyleLbl="sibTrans2D1" presStyleIdx="0" presStyleCnt="3"/>
      <dgm:spPr/>
      <dgm:t>
        <a:bodyPr/>
        <a:lstStyle/>
        <a:p>
          <a:endParaRPr lang="pt-BR"/>
        </a:p>
      </dgm:t>
    </dgm:pt>
    <dgm:pt modelId="{CAA6BA3B-0F9A-4F26-8076-0536A3EE0DF8}" type="pres">
      <dgm:prSet presAssocID="{12CB4909-2A43-44E2-B35A-56AF72E51FC3}" presName="composite" presStyleCnt="0"/>
      <dgm:spPr/>
    </dgm:pt>
    <dgm:pt modelId="{DF24A95D-A3FD-48ED-A7FF-4792ED8736F8}" type="pres">
      <dgm:prSet presAssocID="{12CB4909-2A43-44E2-B35A-56AF72E51FC3}" presName="par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A2E93AE-2098-49D0-9473-591D8D191E4B}" type="pres">
      <dgm:prSet presAssocID="{12CB4909-2A43-44E2-B35A-56AF72E51FC3}" presName="parSh" presStyleLbl="node1" presStyleIdx="1" presStyleCnt="4"/>
      <dgm:spPr/>
      <dgm:t>
        <a:bodyPr/>
        <a:lstStyle/>
        <a:p>
          <a:endParaRPr lang="pt-BR"/>
        </a:p>
      </dgm:t>
    </dgm:pt>
    <dgm:pt modelId="{51B30C7F-40A0-4F75-AF53-AB05C04F6C8A}" type="pres">
      <dgm:prSet presAssocID="{12CB4909-2A43-44E2-B35A-56AF72E51FC3}" presName="desTx" presStyleLbl="fgAcc1" presStyleIdx="1" presStyleCnt="4" custScaleX="12570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29B5A78-5BA9-45C0-A91A-BE0E6C52788E}" type="pres">
      <dgm:prSet presAssocID="{9AE66A17-1F47-4431-8CB9-F8C13BD797CB}" presName="sibTrans" presStyleLbl="sibTrans2D1" presStyleIdx="1" presStyleCnt="3"/>
      <dgm:spPr/>
      <dgm:t>
        <a:bodyPr/>
        <a:lstStyle/>
        <a:p>
          <a:endParaRPr lang="pt-BR"/>
        </a:p>
      </dgm:t>
    </dgm:pt>
    <dgm:pt modelId="{76E6CABA-6F7A-4B1C-96BA-8788729FF877}" type="pres">
      <dgm:prSet presAssocID="{9AE66A17-1F47-4431-8CB9-F8C13BD797CB}" presName="connTx" presStyleLbl="sibTrans2D1" presStyleIdx="1" presStyleCnt="3"/>
      <dgm:spPr/>
      <dgm:t>
        <a:bodyPr/>
        <a:lstStyle/>
        <a:p>
          <a:endParaRPr lang="pt-BR"/>
        </a:p>
      </dgm:t>
    </dgm:pt>
    <dgm:pt modelId="{2FA06715-4332-4CFC-8EA1-07CEC270DCA2}" type="pres">
      <dgm:prSet presAssocID="{76E17EC1-61E0-46E4-8B53-890607453538}" presName="composite" presStyleCnt="0"/>
      <dgm:spPr/>
    </dgm:pt>
    <dgm:pt modelId="{4F340094-70AB-453E-83A9-1508995BD34F}" type="pres">
      <dgm:prSet presAssocID="{76E17EC1-61E0-46E4-8B53-890607453538}" presName="par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89D9DF3-4176-4A88-BE35-796A6571C501}" type="pres">
      <dgm:prSet presAssocID="{76E17EC1-61E0-46E4-8B53-890607453538}" presName="parSh" presStyleLbl="node1" presStyleIdx="2" presStyleCnt="4"/>
      <dgm:spPr/>
      <dgm:t>
        <a:bodyPr/>
        <a:lstStyle/>
        <a:p>
          <a:endParaRPr lang="pt-BR"/>
        </a:p>
      </dgm:t>
    </dgm:pt>
    <dgm:pt modelId="{DD876723-B8B5-4B58-AC90-014762D7785A}" type="pres">
      <dgm:prSet presAssocID="{76E17EC1-61E0-46E4-8B53-890607453538}" presName="desTx" presStyleLbl="fgAcc1" presStyleIdx="2" presStyleCnt="4" custScaleX="113875" custLinFactNeighborX="-6275" custLinFactNeighborY="-848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6FCCECD-0E52-4245-BDCB-B65F0C81F2CF}" type="pres">
      <dgm:prSet presAssocID="{165B1D6C-9FBC-4CBF-B710-56ECBB6AA444}" presName="sibTrans" presStyleLbl="sibTrans2D1" presStyleIdx="2" presStyleCnt="3"/>
      <dgm:spPr/>
      <dgm:t>
        <a:bodyPr/>
        <a:lstStyle/>
        <a:p>
          <a:endParaRPr lang="pt-BR"/>
        </a:p>
      </dgm:t>
    </dgm:pt>
    <dgm:pt modelId="{A99077AE-9CE9-451A-96B0-EBF67396907B}" type="pres">
      <dgm:prSet presAssocID="{165B1D6C-9FBC-4CBF-B710-56ECBB6AA444}" presName="connTx" presStyleLbl="sibTrans2D1" presStyleIdx="2" presStyleCnt="3"/>
      <dgm:spPr/>
      <dgm:t>
        <a:bodyPr/>
        <a:lstStyle/>
        <a:p>
          <a:endParaRPr lang="pt-BR"/>
        </a:p>
      </dgm:t>
    </dgm:pt>
    <dgm:pt modelId="{0171B525-D1F9-4334-85BB-38BDC9E45F2C}" type="pres">
      <dgm:prSet presAssocID="{359F2D02-C5C3-433F-B152-DB252EAF9EB7}" presName="composite" presStyleCnt="0"/>
      <dgm:spPr/>
    </dgm:pt>
    <dgm:pt modelId="{809C96F8-8B57-4C7A-A34B-0E734AB4CF8E}" type="pres">
      <dgm:prSet presAssocID="{359F2D02-C5C3-433F-B152-DB252EAF9EB7}" presName="par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5C0BF84-3D4F-4E45-811F-C8EE91F3D3D5}" type="pres">
      <dgm:prSet presAssocID="{359F2D02-C5C3-433F-B152-DB252EAF9EB7}" presName="parSh" presStyleLbl="node1" presStyleIdx="3" presStyleCnt="4"/>
      <dgm:spPr/>
      <dgm:t>
        <a:bodyPr/>
        <a:lstStyle/>
        <a:p>
          <a:endParaRPr lang="pt-BR"/>
        </a:p>
      </dgm:t>
    </dgm:pt>
    <dgm:pt modelId="{C050ADDE-7216-451F-BC25-5CD750E8A8C4}" type="pres">
      <dgm:prSet presAssocID="{359F2D02-C5C3-433F-B152-DB252EAF9EB7}" presName="desTx" presStyleLbl="f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3ED6771D-7119-413E-9885-D96920C48A30}" type="presOf" srcId="{BD8EEC94-8C93-4007-8AC1-E7B6BEF32411}" destId="{128CEE05-57CC-4C50-B4DA-497A9518C86D}" srcOrd="0" destOrd="1" presId="urn:microsoft.com/office/officeart/2005/8/layout/process3"/>
    <dgm:cxn modelId="{AE19FD73-F926-485C-BA83-0CF1067272FB}" type="presOf" srcId="{2B6C3714-FFBE-42DB-A37C-32C936B10BDF}" destId="{128CEE05-57CC-4C50-B4DA-497A9518C86D}" srcOrd="0" destOrd="4" presId="urn:microsoft.com/office/officeart/2005/8/layout/process3"/>
    <dgm:cxn modelId="{A81B49BC-A7B3-40B0-BDBC-2EF7F2C0E28E}" srcId="{359F2D02-C5C3-433F-B152-DB252EAF9EB7}" destId="{69F988BE-0307-43E0-BDE4-311FD77C85CB}" srcOrd="2" destOrd="0" parTransId="{BEE02001-D430-4E52-B4ED-48C7788C3BDD}" sibTransId="{4A4ED422-539B-4EE6-9D3D-A16D1D2C5AF3}"/>
    <dgm:cxn modelId="{F85EAB91-1C39-4361-A516-1C280FA501CB}" type="presOf" srcId="{1A953C86-FA68-4F01-81AF-1D00E0E03B9E}" destId="{51B30C7F-40A0-4F75-AF53-AB05C04F6C8A}" srcOrd="0" destOrd="5" presId="urn:microsoft.com/office/officeart/2005/8/layout/process3"/>
    <dgm:cxn modelId="{C0BE8AE5-8CF0-4EAE-898B-7B66E92E8594}" srcId="{76E17EC1-61E0-46E4-8B53-890607453538}" destId="{506D527F-0F36-45BC-8ACE-853B43AEE5BF}" srcOrd="4" destOrd="0" parTransId="{F2BCEA8A-1912-4E6C-8B9B-F80E4BACB27A}" sibTransId="{B60A61C2-4EB5-483C-9867-CECF2B85DF75}"/>
    <dgm:cxn modelId="{4FB15698-35C5-4D87-8CCF-F00BA06BF558}" type="presOf" srcId="{9A00C785-02EE-4B72-A732-750470EBE37B}" destId="{C050ADDE-7216-451F-BC25-5CD750E8A8C4}" srcOrd="0" destOrd="3" presId="urn:microsoft.com/office/officeart/2005/8/layout/process3"/>
    <dgm:cxn modelId="{7EF02879-AEAC-42E1-9FC9-E22C7E17C7F4}" type="presOf" srcId="{69F988BE-0307-43E0-BDE4-311FD77C85CB}" destId="{C050ADDE-7216-451F-BC25-5CD750E8A8C4}" srcOrd="0" destOrd="2" presId="urn:microsoft.com/office/officeart/2005/8/layout/process3"/>
    <dgm:cxn modelId="{8AE685EE-8DA8-4CA0-81C7-36C5CCD47664}" type="presOf" srcId="{FBA1680C-BF12-4E2C-8DE1-D37DB94AABD9}" destId="{DD876723-B8B5-4B58-AC90-014762D7785A}" srcOrd="0" destOrd="8" presId="urn:microsoft.com/office/officeart/2005/8/layout/process3"/>
    <dgm:cxn modelId="{66C0F5C0-85B9-4919-9459-F914367BAF64}" type="presOf" srcId="{56566524-9D43-4B77-B277-8AA9CB542D48}" destId="{DD876723-B8B5-4B58-AC90-014762D7785A}" srcOrd="0" destOrd="7" presId="urn:microsoft.com/office/officeart/2005/8/layout/process3"/>
    <dgm:cxn modelId="{DBD0FE0D-00D2-43B8-BE55-183DF20070AA}" srcId="{12CB4909-2A43-44E2-B35A-56AF72E51FC3}" destId="{B55B61B6-189E-49E8-AB1D-6FD8D3F670D5}" srcOrd="13" destOrd="0" parTransId="{C5BF8ACB-3E9F-4397-9618-B53B22ED2417}" sibTransId="{AB6A64AC-7DCB-4102-8AE5-A54F6244B857}"/>
    <dgm:cxn modelId="{20F17466-7F4B-4D5F-BA07-1E1A2F9714A8}" srcId="{359F2D02-C5C3-433F-B152-DB252EAF9EB7}" destId="{9A00C785-02EE-4B72-A732-750470EBE37B}" srcOrd="3" destOrd="0" parTransId="{61CADA0E-A511-4C60-8D5D-2523E2EC5BA7}" sibTransId="{008DB081-021B-4A75-BADC-7E6574552B7A}"/>
    <dgm:cxn modelId="{BEBFAA09-F3DC-44EB-9FA2-E4848DDF252D}" type="presOf" srcId="{36E9CBAE-C3D4-4953-B6E3-63441700CBC2}" destId="{128CEE05-57CC-4C50-B4DA-497A9518C86D}" srcOrd="0" destOrd="3" presId="urn:microsoft.com/office/officeart/2005/8/layout/process3"/>
    <dgm:cxn modelId="{E0CE2DE6-DACF-4703-9073-3C766D3A1E52}" type="presOf" srcId="{1F34758D-BD38-4442-9E36-B65C8E9EEEDE}" destId="{51B30C7F-40A0-4F75-AF53-AB05C04F6C8A}" srcOrd="0" destOrd="14" presId="urn:microsoft.com/office/officeart/2005/8/layout/process3"/>
    <dgm:cxn modelId="{3F4A5409-AEEE-4507-B95B-6ADC9E7648B7}" srcId="{12CB4909-2A43-44E2-B35A-56AF72E51FC3}" destId="{7497085F-1912-4C01-A4D4-E5ADB4FDFA72}" srcOrd="2" destOrd="0" parTransId="{C0BD48C7-0A1A-4809-88A2-E57957AA8B90}" sibTransId="{720DB68A-5BFA-4D7C-984A-5AD89AA1AEDF}"/>
    <dgm:cxn modelId="{9C03967A-B4DE-4C74-9198-FBC67E1FF1C2}" srcId="{76E17EC1-61E0-46E4-8B53-890607453538}" destId="{C204AE27-2CB6-4811-8228-EC61C09ECE74}" srcOrd="6" destOrd="0" parTransId="{289CC6EB-5BBA-4EB7-B048-52912C432DB5}" sibTransId="{CC5A2447-3E4C-4B73-A011-6594A5646DF3}"/>
    <dgm:cxn modelId="{42D3AB5D-9A16-4579-9954-E60A219F6099}" srcId="{12CB4909-2A43-44E2-B35A-56AF72E51FC3}" destId="{C32CBEE3-5280-4DA1-8D6F-DB3B59A7934F}" srcOrd="4" destOrd="0" parTransId="{7E50685B-9E55-4C9E-903D-4B09AD15593C}" sibTransId="{231B5327-770F-4EC0-890C-A0F3B4042155}"/>
    <dgm:cxn modelId="{0AA0D758-9EAF-41DE-99D8-D420153EE868}" type="presOf" srcId="{7297EAAD-EA37-4B3B-A7F8-95086ED6B8C9}" destId="{51B30C7F-40A0-4F75-AF53-AB05C04F6C8A}" srcOrd="0" destOrd="1" presId="urn:microsoft.com/office/officeart/2005/8/layout/process3"/>
    <dgm:cxn modelId="{7FB181DB-5258-482A-B35F-1033591094FB}" srcId="{12CB4909-2A43-44E2-B35A-56AF72E51FC3}" destId="{52DFF8A8-2F7E-4EFC-BD99-8C7A7FC7CEBD}" srcOrd="9" destOrd="0" parTransId="{468B93CB-4DEA-4927-8BDB-B610F26EBE7D}" sibTransId="{1767BF81-C400-499D-9BF2-1709CBC41373}"/>
    <dgm:cxn modelId="{BEFDEA7C-09CD-4DAF-921B-C7557A0456F0}" type="presOf" srcId="{C2C72F27-2098-4705-897B-44A484D71828}" destId="{AADE1378-D8A4-48EE-A826-5E644960EB3B}" srcOrd="0" destOrd="0" presId="urn:microsoft.com/office/officeart/2005/8/layout/process3"/>
    <dgm:cxn modelId="{F76FDE78-85DB-41C0-A4FF-7FFA44BC1DCA}" type="presOf" srcId="{191FD3DD-0DD5-4821-A4B7-7DAF7B97615A}" destId="{51B30C7F-40A0-4F75-AF53-AB05C04F6C8A}" srcOrd="0" destOrd="15" presId="urn:microsoft.com/office/officeart/2005/8/layout/process3"/>
    <dgm:cxn modelId="{2746FAAF-8B5F-43D8-8215-A0A549B649D8}" srcId="{12CB4909-2A43-44E2-B35A-56AF72E51FC3}" destId="{1F34758D-BD38-4442-9E36-B65C8E9EEEDE}" srcOrd="14" destOrd="0" parTransId="{BC061464-92FC-4100-892B-73CB27F7147A}" sibTransId="{A58D3125-019E-4AF1-ABF9-A48522D71517}"/>
    <dgm:cxn modelId="{0F2F315D-7129-478E-B115-1E3EB8862937}" type="presOf" srcId="{165B1D6C-9FBC-4CBF-B710-56ECBB6AA444}" destId="{A99077AE-9CE9-451A-96B0-EBF67396907B}" srcOrd="1" destOrd="0" presId="urn:microsoft.com/office/officeart/2005/8/layout/process3"/>
    <dgm:cxn modelId="{B4C32FEE-1E86-4B24-B663-7C01C7B21F06}" type="presOf" srcId="{C2C72F27-2098-4705-897B-44A484D71828}" destId="{1A705A68-C9BC-403B-93F4-E7F1CB006A9D}" srcOrd="1" destOrd="0" presId="urn:microsoft.com/office/officeart/2005/8/layout/process3"/>
    <dgm:cxn modelId="{8AE9CCC7-862D-4986-9F24-0F24135C755F}" type="presOf" srcId="{C94E3FC6-C289-4D27-BDA5-878C8C389927}" destId="{128CEE05-57CC-4C50-B4DA-497A9518C86D}" srcOrd="0" destOrd="2" presId="urn:microsoft.com/office/officeart/2005/8/layout/process3"/>
    <dgm:cxn modelId="{395EBF84-B9B0-484E-BE3F-7A4F90A7612A}" type="presOf" srcId="{359F2D02-C5C3-433F-B152-DB252EAF9EB7}" destId="{809C96F8-8B57-4C7A-A34B-0E734AB4CF8E}" srcOrd="0" destOrd="0" presId="urn:microsoft.com/office/officeart/2005/8/layout/process3"/>
    <dgm:cxn modelId="{748D9088-26E2-40F8-9647-9446E712A3DC}" type="presOf" srcId="{12CB4909-2A43-44E2-B35A-56AF72E51FC3}" destId="{FA2E93AE-2098-49D0-9473-591D8D191E4B}" srcOrd="1" destOrd="0" presId="urn:microsoft.com/office/officeart/2005/8/layout/process3"/>
    <dgm:cxn modelId="{D87B18E5-1038-4FFF-88E4-75AC663BBCFD}" type="presOf" srcId="{8502707A-B1C2-4D59-9033-D39348DDF64B}" destId="{ADE21065-ADA0-488A-A9E9-714DC420FA32}" srcOrd="1" destOrd="0" presId="urn:microsoft.com/office/officeart/2005/8/layout/process3"/>
    <dgm:cxn modelId="{CA49C114-8FD1-417A-BE67-43B539C266B3}" type="presOf" srcId="{C5674ACE-2BBD-4A67-B860-7F29C760F253}" destId="{DD876723-B8B5-4B58-AC90-014762D7785A}" srcOrd="0" destOrd="3" presId="urn:microsoft.com/office/officeart/2005/8/layout/process3"/>
    <dgm:cxn modelId="{A25F2DD5-DA7A-491C-8F74-9FC277617AC1}" srcId="{62336337-2256-44E8-BEDF-0D21DDDF7D43}" destId="{C2C72F27-2098-4705-897B-44A484D71828}" srcOrd="0" destOrd="0" parTransId="{26C3E0B6-A821-44F0-817F-B3112DA2B3BB}" sibTransId="{8502707A-B1C2-4D59-9033-D39348DDF64B}"/>
    <dgm:cxn modelId="{F3CBCD10-D5B2-4DF6-A23F-0E174A6CE229}" type="presOf" srcId="{9AE66A17-1F47-4431-8CB9-F8C13BD797CB}" destId="{76E6CABA-6F7A-4B1C-96BA-8788729FF877}" srcOrd="1" destOrd="0" presId="urn:microsoft.com/office/officeart/2005/8/layout/process3"/>
    <dgm:cxn modelId="{D210686B-D75C-418A-BA7A-1B2956150D6E}" type="presOf" srcId="{AE0E33B2-1A70-4018-80E7-22BDFCA365E3}" destId="{C050ADDE-7216-451F-BC25-5CD750E8A8C4}" srcOrd="0" destOrd="0" presId="urn:microsoft.com/office/officeart/2005/8/layout/process3"/>
    <dgm:cxn modelId="{CB07066C-88A4-41C0-8BCE-6BE79B29F0BD}" type="presOf" srcId="{242C8834-AB7F-4509-91CC-D9E31599D2E2}" destId="{51B30C7F-40A0-4F75-AF53-AB05C04F6C8A}" srcOrd="0" destOrd="7" presId="urn:microsoft.com/office/officeart/2005/8/layout/process3"/>
    <dgm:cxn modelId="{EFFC6B1A-C40C-41E4-AAE1-C53103278D38}" type="presOf" srcId="{8502707A-B1C2-4D59-9033-D39348DDF64B}" destId="{FAE79DA8-096B-4864-B765-C027EED0FC91}" srcOrd="0" destOrd="0" presId="urn:microsoft.com/office/officeart/2005/8/layout/process3"/>
    <dgm:cxn modelId="{0EBFDC31-E8D9-4DE9-8B18-5890833504F1}" srcId="{12CB4909-2A43-44E2-B35A-56AF72E51FC3}" destId="{26F965D3-4640-4AB4-ADB9-0D104A97D8C6}" srcOrd="0" destOrd="0" parTransId="{30C9086A-A873-4779-A238-8CE3847D3EB8}" sibTransId="{0635CFA3-0257-42E1-BBFD-28DB9E3E6678}"/>
    <dgm:cxn modelId="{26E24FE9-FC76-4D25-926D-34B3A26D0952}" type="presOf" srcId="{D0966F0B-6A79-4570-96B0-1869F96AAE64}" destId="{DD876723-B8B5-4B58-AC90-014762D7785A}" srcOrd="0" destOrd="2" presId="urn:microsoft.com/office/officeart/2005/8/layout/process3"/>
    <dgm:cxn modelId="{E9C86F46-4C4E-4107-96E8-D3B28ACD0E72}" srcId="{C2C72F27-2098-4705-897B-44A484D71828}" destId="{36E9CBAE-C3D4-4953-B6E3-63441700CBC2}" srcOrd="3" destOrd="0" parTransId="{4DA2C8F3-BE29-4A76-B7F5-E9AA9E02884D}" sibTransId="{1A889ECF-A9E8-44F5-B027-C75A21738FE5}"/>
    <dgm:cxn modelId="{553F66CE-7FA3-4F90-A9E8-3CC9AFC5A54A}" srcId="{C2C72F27-2098-4705-897B-44A484D71828}" destId="{19586DFF-0A0B-4D12-8DB7-77B6E3342D15}" srcOrd="5" destOrd="0" parTransId="{0CC6693C-2553-44F0-8627-DA21C9471F7C}" sibTransId="{50F9E765-EEE4-4623-8FDF-9CB77AE228BA}"/>
    <dgm:cxn modelId="{3B163DF2-2EFB-4B1C-9AE7-64EA5BAF8DAA}" type="presOf" srcId="{44E971BB-A104-43A1-AEAE-B1A4871A40CC}" destId="{C050ADDE-7216-451F-BC25-5CD750E8A8C4}" srcOrd="0" destOrd="4" presId="urn:microsoft.com/office/officeart/2005/8/layout/process3"/>
    <dgm:cxn modelId="{A1A01735-A665-4819-9F62-DA49F573567D}" type="presOf" srcId="{9AE66A17-1F47-4431-8CB9-F8C13BD797CB}" destId="{929B5A78-5BA9-45C0-A91A-BE0E6C52788E}" srcOrd="0" destOrd="0" presId="urn:microsoft.com/office/officeart/2005/8/layout/process3"/>
    <dgm:cxn modelId="{69C1FB26-C445-4134-9025-B7FAAB22FD5E}" type="presOf" srcId="{C32CBEE3-5280-4DA1-8D6F-DB3B59A7934F}" destId="{51B30C7F-40A0-4F75-AF53-AB05C04F6C8A}" srcOrd="0" destOrd="4" presId="urn:microsoft.com/office/officeart/2005/8/layout/process3"/>
    <dgm:cxn modelId="{A1C53B7F-7E9F-4F5D-A841-77744BC0CD08}" type="presOf" srcId="{B9C68F30-3E4D-464E-9E1E-D8A62CAB573C}" destId="{51B30C7F-40A0-4F75-AF53-AB05C04F6C8A}" srcOrd="0" destOrd="3" presId="urn:microsoft.com/office/officeart/2005/8/layout/process3"/>
    <dgm:cxn modelId="{937197DC-137E-40EB-8E68-91DBF63E407C}" srcId="{359F2D02-C5C3-433F-B152-DB252EAF9EB7}" destId="{44E971BB-A104-43A1-AEAE-B1A4871A40CC}" srcOrd="4" destOrd="0" parTransId="{8E879625-5FCC-42F2-A1B3-DA7AB99D1F5A}" sibTransId="{1F6C8D3A-955D-4E51-9097-4486E74C8E76}"/>
    <dgm:cxn modelId="{BC87AF46-54A1-4711-98B4-13E5FAD549D4}" srcId="{76E17EC1-61E0-46E4-8B53-890607453538}" destId="{6815642F-7A09-4BD3-87F5-0CC353223A98}" srcOrd="5" destOrd="0" parTransId="{43C69F4B-741D-4DC3-8A65-4BD0757079A6}" sibTransId="{C8C5DAA0-EFAE-4D58-8DA5-719A67F5324C}"/>
    <dgm:cxn modelId="{E03ADCAD-6C34-49CF-A60E-EA8B4822193A}" type="presOf" srcId="{7EFB80DE-C3E0-4664-8DE5-7967BD82D9AB}" destId="{DD876723-B8B5-4B58-AC90-014762D7785A}" srcOrd="0" destOrd="1" presId="urn:microsoft.com/office/officeart/2005/8/layout/process3"/>
    <dgm:cxn modelId="{B5AD07E8-EDDE-48EA-8D32-DDC0C91FF03F}" type="presOf" srcId="{76E17EC1-61E0-46E4-8B53-890607453538}" destId="{889D9DF3-4176-4A88-BE35-796A6571C501}" srcOrd="1" destOrd="0" presId="urn:microsoft.com/office/officeart/2005/8/layout/process3"/>
    <dgm:cxn modelId="{1E27F02D-7635-40A4-8B56-F7FF7C17140C}" type="presOf" srcId="{C204AE27-2CB6-4811-8228-EC61C09ECE74}" destId="{DD876723-B8B5-4B58-AC90-014762D7785A}" srcOrd="0" destOrd="6" presId="urn:microsoft.com/office/officeart/2005/8/layout/process3"/>
    <dgm:cxn modelId="{610DC9F2-6C63-435D-A8EB-3118588DAEEA}" srcId="{12CB4909-2A43-44E2-B35A-56AF72E51FC3}" destId="{2511B857-75E8-4508-947F-D36D1C34CDDE}" srcOrd="8" destOrd="0" parTransId="{9FA417BB-1D00-4F11-8D86-B64C81F010AB}" sibTransId="{B9CB9BED-9812-4261-8581-95AF464159CB}"/>
    <dgm:cxn modelId="{BB559B47-3613-4481-9403-D28291CF3A0E}" type="presOf" srcId="{B55B61B6-189E-49E8-AB1D-6FD8D3F670D5}" destId="{51B30C7F-40A0-4F75-AF53-AB05C04F6C8A}" srcOrd="0" destOrd="13" presId="urn:microsoft.com/office/officeart/2005/8/layout/process3"/>
    <dgm:cxn modelId="{6CD500D8-CD3B-4621-9791-6528ED62B299}" srcId="{12CB4909-2A43-44E2-B35A-56AF72E51FC3}" destId="{1B4864DB-6B68-4E91-887E-4D6A1434C641}" srcOrd="12" destOrd="0" parTransId="{2A77BEB2-4CF8-417F-8979-079AB2696448}" sibTransId="{2D05D82B-B961-428D-9D08-AA5E929CF8AA}"/>
    <dgm:cxn modelId="{FAFB549E-DA1B-4C9D-BCB4-20376AAE53B9}" srcId="{359F2D02-C5C3-433F-B152-DB252EAF9EB7}" destId="{AE0E33B2-1A70-4018-80E7-22BDFCA365E3}" srcOrd="0" destOrd="0" parTransId="{E9558E2E-1E13-4F66-A40B-B3EE3A8D7A2D}" sibTransId="{E8E036B7-C0B2-415B-8C1F-E21CD2092799}"/>
    <dgm:cxn modelId="{DA95AA11-7F3A-4781-ACFB-B197279057EE}" srcId="{76E17EC1-61E0-46E4-8B53-890607453538}" destId="{D0966F0B-6A79-4570-96B0-1869F96AAE64}" srcOrd="2" destOrd="0" parTransId="{6539CD5A-27C4-41EB-9CCB-5FAF3FC14A61}" sibTransId="{F35F56E9-F1F1-4016-A37F-AB6441AE16AA}"/>
    <dgm:cxn modelId="{73D6921D-BE0A-4848-ADC7-3C27D81EF3DA}" srcId="{76E17EC1-61E0-46E4-8B53-890607453538}" destId="{0822EE73-6FCB-4401-8002-B8A72B03EDFA}" srcOrd="0" destOrd="0" parTransId="{29E39213-BE61-4F6C-B189-20D8D47366B6}" sibTransId="{8D6E3A77-2292-41AB-9347-F03632B5A2C6}"/>
    <dgm:cxn modelId="{D59CC35E-BCEC-43E9-8893-92013E549475}" srcId="{12CB4909-2A43-44E2-B35A-56AF72E51FC3}" destId="{B9C68F30-3E4D-464E-9E1E-D8A62CAB573C}" srcOrd="3" destOrd="0" parTransId="{6BAFD958-DBC0-4BEE-B457-6ADF1B67FBE2}" sibTransId="{1EAC4A10-0CB3-4857-BBA6-CCC7F1162849}"/>
    <dgm:cxn modelId="{23F426B3-73B5-4677-BC7D-92AA43CC5049}" srcId="{12CB4909-2A43-44E2-B35A-56AF72E51FC3}" destId="{DDC54FC7-B258-469C-9F1A-ABB00425B0DC}" srcOrd="10" destOrd="0" parTransId="{24ED4706-0AB8-46ED-A708-7D32C31DAB69}" sibTransId="{0F92D7EC-01E2-4E7B-B27B-F9E36F2988C4}"/>
    <dgm:cxn modelId="{638C5DC7-E4FC-47FA-90FA-B6232458D614}" type="presOf" srcId="{52DFF8A8-2F7E-4EFC-BD99-8C7A7FC7CEBD}" destId="{51B30C7F-40A0-4F75-AF53-AB05C04F6C8A}" srcOrd="0" destOrd="9" presId="urn:microsoft.com/office/officeart/2005/8/layout/process3"/>
    <dgm:cxn modelId="{826714E1-62EE-4856-A253-E3622E0D65F4}" type="presOf" srcId="{65993113-0329-40F0-9880-39F12287F0F1}" destId="{51B30C7F-40A0-4F75-AF53-AB05C04F6C8A}" srcOrd="0" destOrd="6" presId="urn:microsoft.com/office/officeart/2005/8/layout/process3"/>
    <dgm:cxn modelId="{103E80E3-039F-43F5-924E-A4CD84798CCC}" srcId="{359F2D02-C5C3-433F-B152-DB252EAF9EB7}" destId="{884DFA58-43B3-45CB-98CC-5FDA528D5BA4}" srcOrd="1" destOrd="0" parTransId="{B6FEB3EC-F959-47D9-BD2E-8AD2170FF81A}" sibTransId="{3F390D4D-3A09-4869-8535-CAC9CFAC0FB2}"/>
    <dgm:cxn modelId="{1D1AC4F5-80A4-42D9-8FE9-3FFB7E1950C3}" type="presOf" srcId="{2511B857-75E8-4508-947F-D36D1C34CDDE}" destId="{51B30C7F-40A0-4F75-AF53-AB05C04F6C8A}" srcOrd="0" destOrd="8" presId="urn:microsoft.com/office/officeart/2005/8/layout/process3"/>
    <dgm:cxn modelId="{BA722989-4008-4EBA-AF99-2F5A21B1C81D}" srcId="{76E17EC1-61E0-46E4-8B53-890607453538}" destId="{56566524-9D43-4B77-B277-8AA9CB542D48}" srcOrd="7" destOrd="0" parTransId="{6417FBFE-3349-4907-B148-03F4ACD8731D}" sibTransId="{24A46E49-005D-4DCA-8848-F8D99CDEA0BD}"/>
    <dgm:cxn modelId="{A5B78FC1-1B9B-4D03-A13F-67730B713DF9}" srcId="{76E17EC1-61E0-46E4-8B53-890607453538}" destId="{C5674ACE-2BBD-4A67-B860-7F29C760F253}" srcOrd="3" destOrd="0" parTransId="{9F501CD1-238B-4E06-BEE5-7FECA3329570}" sibTransId="{5BC61835-A186-4E70-8237-19DDB13A1FF6}"/>
    <dgm:cxn modelId="{BDB8A84C-3E00-4788-AFC3-101AAD467CC6}" srcId="{C2C72F27-2098-4705-897B-44A484D71828}" destId="{2B6C3714-FFBE-42DB-A37C-32C936B10BDF}" srcOrd="4" destOrd="0" parTransId="{17290D13-E21B-4205-BCEB-1BB55018B5DD}" sibTransId="{100F0325-32D3-4B0C-AEFF-E461BC9B43AB}"/>
    <dgm:cxn modelId="{C5E1C566-FEFE-440C-85AD-B82360B3B473}" srcId="{C2C72F27-2098-4705-897B-44A484D71828}" destId="{BD8EEC94-8C93-4007-8AC1-E7B6BEF32411}" srcOrd="1" destOrd="0" parTransId="{EEE7C294-D91C-4454-8794-29DED61414F2}" sibTransId="{FEAC9DC2-4F1F-46D1-B646-0DA4A730452E}"/>
    <dgm:cxn modelId="{14A1752F-D164-411F-8E3E-11E0F8FCDE83}" type="presOf" srcId="{884DFA58-43B3-45CB-98CC-5FDA528D5BA4}" destId="{C050ADDE-7216-451F-BC25-5CD750E8A8C4}" srcOrd="0" destOrd="1" presId="urn:microsoft.com/office/officeart/2005/8/layout/process3"/>
    <dgm:cxn modelId="{0C31D8A5-6F15-4CE5-AA7A-F82E294AC01E}" srcId="{62336337-2256-44E8-BEDF-0D21DDDF7D43}" destId="{12CB4909-2A43-44E2-B35A-56AF72E51FC3}" srcOrd="1" destOrd="0" parTransId="{37F5E0F4-6E7B-42B3-8E6D-BD60485A5D26}" sibTransId="{9AE66A17-1F47-4431-8CB9-F8C13BD797CB}"/>
    <dgm:cxn modelId="{439BC8CE-745D-45E6-B535-04A371B52208}" type="presOf" srcId="{12CB4909-2A43-44E2-B35A-56AF72E51FC3}" destId="{DF24A95D-A3FD-48ED-A7FF-4792ED8736F8}" srcOrd="0" destOrd="0" presId="urn:microsoft.com/office/officeart/2005/8/layout/process3"/>
    <dgm:cxn modelId="{C4C9DBAC-FCB7-4F52-9A4C-AF3B74A37A51}" type="presOf" srcId="{E7695ECB-7706-4AA4-B93F-360B8A688CBC}" destId="{51B30C7F-40A0-4F75-AF53-AB05C04F6C8A}" srcOrd="0" destOrd="11" presId="urn:microsoft.com/office/officeart/2005/8/layout/process3"/>
    <dgm:cxn modelId="{6DEBA8AD-251C-4996-B9A3-9047B4FEB122}" type="presOf" srcId="{7497085F-1912-4C01-A4D4-E5ADB4FDFA72}" destId="{51B30C7F-40A0-4F75-AF53-AB05C04F6C8A}" srcOrd="0" destOrd="2" presId="urn:microsoft.com/office/officeart/2005/8/layout/process3"/>
    <dgm:cxn modelId="{CC54C0CC-E41A-4D01-9845-B3670B47675A}" srcId="{C2C72F27-2098-4705-897B-44A484D71828}" destId="{C94E3FC6-C289-4D27-BDA5-878C8C389927}" srcOrd="2" destOrd="0" parTransId="{23BF5F5E-C41E-4821-8BC7-C1018D4C1BDA}" sibTransId="{3A7B6112-F0A8-43F3-A966-65887EC76C22}"/>
    <dgm:cxn modelId="{3DC95349-39B8-4B80-A820-40E15FFF15EE}" type="presOf" srcId="{19586DFF-0A0B-4D12-8DB7-77B6E3342D15}" destId="{128CEE05-57CC-4C50-B4DA-497A9518C86D}" srcOrd="0" destOrd="5" presId="urn:microsoft.com/office/officeart/2005/8/layout/process3"/>
    <dgm:cxn modelId="{7BE4A6B3-673C-4C11-A7D1-18DE0AACB13B}" type="presOf" srcId="{62336337-2256-44E8-BEDF-0D21DDDF7D43}" destId="{ACF87BA0-827E-4067-A56D-21C8EBED5E85}" srcOrd="0" destOrd="0" presId="urn:microsoft.com/office/officeart/2005/8/layout/process3"/>
    <dgm:cxn modelId="{4D045E20-8EA3-4F11-91D0-D96C18BC67A1}" srcId="{12CB4909-2A43-44E2-B35A-56AF72E51FC3}" destId="{1A953C86-FA68-4F01-81AF-1D00E0E03B9E}" srcOrd="5" destOrd="0" parTransId="{42ED5881-84A1-4EA3-ACC8-DDF234B45811}" sibTransId="{7C5F8E34-1B0E-4285-B8FC-5F305943EAB2}"/>
    <dgm:cxn modelId="{4A7353ED-E8A9-4CB0-BC5D-A9922369337F}" type="presOf" srcId="{4846EA97-7DB8-48BE-968E-AE939301B328}" destId="{128CEE05-57CC-4C50-B4DA-497A9518C86D}" srcOrd="0" destOrd="0" presId="urn:microsoft.com/office/officeart/2005/8/layout/process3"/>
    <dgm:cxn modelId="{4B0084FC-4ECF-4997-AD99-28660D04FEC7}" type="presOf" srcId="{506D527F-0F36-45BC-8ACE-853B43AEE5BF}" destId="{DD876723-B8B5-4B58-AC90-014762D7785A}" srcOrd="0" destOrd="4" presId="urn:microsoft.com/office/officeart/2005/8/layout/process3"/>
    <dgm:cxn modelId="{3D313CED-A70C-44DD-B549-E7FA4E8AB806}" srcId="{C2C72F27-2098-4705-897B-44A484D71828}" destId="{4846EA97-7DB8-48BE-968E-AE939301B328}" srcOrd="0" destOrd="0" parTransId="{EDADC7B2-04EB-40FD-9C04-09E7DDC39AC3}" sibTransId="{8A9A6569-8BBF-4269-A1A7-E3AD9BF33B42}"/>
    <dgm:cxn modelId="{52B93FE2-4D29-483D-992C-1FBE1287CCE5}" type="presOf" srcId="{6815642F-7A09-4BD3-87F5-0CC353223A98}" destId="{DD876723-B8B5-4B58-AC90-014762D7785A}" srcOrd="0" destOrd="5" presId="urn:microsoft.com/office/officeart/2005/8/layout/process3"/>
    <dgm:cxn modelId="{C51AA022-69F5-4BAD-9028-1974E0007035}" srcId="{62336337-2256-44E8-BEDF-0D21DDDF7D43}" destId="{359F2D02-C5C3-433F-B152-DB252EAF9EB7}" srcOrd="3" destOrd="0" parTransId="{7739E33E-9BF7-4D26-9646-FD697AF213DF}" sibTransId="{CA5E9195-A7FA-4C06-A040-5A3F6AC6195E}"/>
    <dgm:cxn modelId="{A8705E32-79C8-4CE5-BA93-5AEEEB6E869B}" srcId="{12CB4909-2A43-44E2-B35A-56AF72E51FC3}" destId="{242C8834-AB7F-4509-91CC-D9E31599D2E2}" srcOrd="7" destOrd="0" parTransId="{4110DC99-ED8C-4A2E-80A7-5F77C01EB917}" sibTransId="{1A13AF54-3939-4330-8E00-B1FFDFA7376C}"/>
    <dgm:cxn modelId="{E3338D3E-4C14-44CB-BF65-A531AD84656D}" type="presOf" srcId="{165B1D6C-9FBC-4CBF-B710-56ECBB6AA444}" destId="{B6FCCECD-0E52-4245-BDCB-B65F0C81F2CF}" srcOrd="0" destOrd="0" presId="urn:microsoft.com/office/officeart/2005/8/layout/process3"/>
    <dgm:cxn modelId="{EBCF130B-6572-4AF1-8018-829711DAB475}" srcId="{76E17EC1-61E0-46E4-8B53-890607453538}" destId="{FBA1680C-BF12-4E2C-8DE1-D37DB94AABD9}" srcOrd="8" destOrd="0" parTransId="{6C82B829-09BD-4645-BE2C-A93D9AC263C9}" sibTransId="{4737020E-32FA-4B28-81AF-B92D408422C1}"/>
    <dgm:cxn modelId="{33A52503-D613-472A-A30D-CC94BF0D577C}" srcId="{12CB4909-2A43-44E2-B35A-56AF72E51FC3}" destId="{E7695ECB-7706-4AA4-B93F-360B8A688CBC}" srcOrd="11" destOrd="0" parTransId="{AFCCDECD-D62E-47D7-936C-E9984964F863}" sibTransId="{4E815376-6DB8-44A0-A24C-80EBCA0AF5F9}"/>
    <dgm:cxn modelId="{9D19F6AB-3D7A-4635-85FB-A6074EC4774F}" type="presOf" srcId="{DDC54FC7-B258-469C-9F1A-ABB00425B0DC}" destId="{51B30C7F-40A0-4F75-AF53-AB05C04F6C8A}" srcOrd="0" destOrd="10" presId="urn:microsoft.com/office/officeart/2005/8/layout/process3"/>
    <dgm:cxn modelId="{2365AB93-B411-43E2-8C4D-EDA9562B876A}" srcId="{12CB4909-2A43-44E2-B35A-56AF72E51FC3}" destId="{7297EAAD-EA37-4B3B-A7F8-95086ED6B8C9}" srcOrd="1" destOrd="0" parTransId="{0A587307-950C-4978-BE10-0CB6AF272C7E}" sibTransId="{AC297AB8-6269-45A9-BFB8-2D60BB3AE060}"/>
    <dgm:cxn modelId="{9719A9A2-FBB0-4265-85E4-917E57B09410}" type="presOf" srcId="{76E17EC1-61E0-46E4-8B53-890607453538}" destId="{4F340094-70AB-453E-83A9-1508995BD34F}" srcOrd="0" destOrd="0" presId="urn:microsoft.com/office/officeart/2005/8/layout/process3"/>
    <dgm:cxn modelId="{C1E2ADB8-2FE4-4980-82B5-808B1F1129B2}" srcId="{12CB4909-2A43-44E2-B35A-56AF72E51FC3}" destId="{191FD3DD-0DD5-4821-A4B7-7DAF7B97615A}" srcOrd="15" destOrd="0" parTransId="{2E058987-6CE2-404F-A3E2-1DB9E2455F2B}" sibTransId="{21614659-2170-439D-AC66-073B9777DEF3}"/>
    <dgm:cxn modelId="{56885B24-9B13-4A42-8319-E6597F922602}" type="presOf" srcId="{0822EE73-6FCB-4401-8002-B8A72B03EDFA}" destId="{DD876723-B8B5-4B58-AC90-014762D7785A}" srcOrd="0" destOrd="0" presId="urn:microsoft.com/office/officeart/2005/8/layout/process3"/>
    <dgm:cxn modelId="{96D0DFE1-CE0D-4DE4-BD2B-60541F2F58A9}" type="presOf" srcId="{1B4864DB-6B68-4E91-887E-4D6A1434C641}" destId="{51B30C7F-40A0-4F75-AF53-AB05C04F6C8A}" srcOrd="0" destOrd="12" presId="urn:microsoft.com/office/officeart/2005/8/layout/process3"/>
    <dgm:cxn modelId="{CC0B4A5C-A457-413E-A76F-063792EF05F5}" srcId="{62336337-2256-44E8-BEDF-0D21DDDF7D43}" destId="{76E17EC1-61E0-46E4-8B53-890607453538}" srcOrd="2" destOrd="0" parTransId="{B35EE708-5CEA-4D5B-8E7C-BC0764F18771}" sibTransId="{165B1D6C-9FBC-4CBF-B710-56ECBB6AA444}"/>
    <dgm:cxn modelId="{ACE5EEB7-F5C2-41D1-AA67-9751AE74835B}" srcId="{12CB4909-2A43-44E2-B35A-56AF72E51FC3}" destId="{65993113-0329-40F0-9880-39F12287F0F1}" srcOrd="6" destOrd="0" parTransId="{E15574AF-A870-4352-9A56-29E4C6485D04}" sibTransId="{29F95696-8F84-4DFF-AA1C-188EFDB54E93}"/>
    <dgm:cxn modelId="{3488EAA9-7804-4DF6-9661-11D2B1BFF390}" type="presOf" srcId="{26F965D3-4640-4AB4-ADB9-0D104A97D8C6}" destId="{51B30C7F-40A0-4F75-AF53-AB05C04F6C8A}" srcOrd="0" destOrd="0" presId="urn:microsoft.com/office/officeart/2005/8/layout/process3"/>
    <dgm:cxn modelId="{7A3045FF-F4BF-43BF-B97F-84F505E86D6F}" type="presOf" srcId="{359F2D02-C5C3-433F-B152-DB252EAF9EB7}" destId="{C5C0BF84-3D4F-4E45-811F-C8EE91F3D3D5}" srcOrd="1" destOrd="0" presId="urn:microsoft.com/office/officeart/2005/8/layout/process3"/>
    <dgm:cxn modelId="{808D2B1E-7692-421F-A87C-608A59D28967}" srcId="{76E17EC1-61E0-46E4-8B53-890607453538}" destId="{7EFB80DE-C3E0-4664-8DE5-7967BD82D9AB}" srcOrd="1" destOrd="0" parTransId="{B442FF71-C8B8-4920-A966-01469A2E1B79}" sibTransId="{A0E7CB7A-4C14-4A8C-BFE1-49276ACD55CD}"/>
    <dgm:cxn modelId="{7D3D632A-8112-4B58-A3D3-B1AF5DB2F94F}" type="presParOf" srcId="{ACF87BA0-827E-4067-A56D-21C8EBED5E85}" destId="{C6C43FEE-5274-496D-8589-E739FE48E676}" srcOrd="0" destOrd="0" presId="urn:microsoft.com/office/officeart/2005/8/layout/process3"/>
    <dgm:cxn modelId="{E60BB618-05A2-472B-BA5A-2C49B5FBB2F8}" type="presParOf" srcId="{C6C43FEE-5274-496D-8589-E739FE48E676}" destId="{AADE1378-D8A4-48EE-A826-5E644960EB3B}" srcOrd="0" destOrd="0" presId="urn:microsoft.com/office/officeart/2005/8/layout/process3"/>
    <dgm:cxn modelId="{DBF6C350-4367-4889-B55E-BF87976F833E}" type="presParOf" srcId="{C6C43FEE-5274-496D-8589-E739FE48E676}" destId="{1A705A68-C9BC-403B-93F4-E7F1CB006A9D}" srcOrd="1" destOrd="0" presId="urn:microsoft.com/office/officeart/2005/8/layout/process3"/>
    <dgm:cxn modelId="{83315994-53A8-4780-AB48-2910D44F9486}" type="presParOf" srcId="{C6C43FEE-5274-496D-8589-E739FE48E676}" destId="{128CEE05-57CC-4C50-B4DA-497A9518C86D}" srcOrd="2" destOrd="0" presId="urn:microsoft.com/office/officeart/2005/8/layout/process3"/>
    <dgm:cxn modelId="{586C0BFA-6749-441E-BE0C-0FCF0B8626D2}" type="presParOf" srcId="{ACF87BA0-827E-4067-A56D-21C8EBED5E85}" destId="{FAE79DA8-096B-4864-B765-C027EED0FC91}" srcOrd="1" destOrd="0" presId="urn:microsoft.com/office/officeart/2005/8/layout/process3"/>
    <dgm:cxn modelId="{2AF4DDA7-CEA0-4738-8F1E-BC91AB3AF530}" type="presParOf" srcId="{FAE79DA8-096B-4864-B765-C027EED0FC91}" destId="{ADE21065-ADA0-488A-A9E9-714DC420FA32}" srcOrd="0" destOrd="0" presId="urn:microsoft.com/office/officeart/2005/8/layout/process3"/>
    <dgm:cxn modelId="{D88FA196-290C-4D6F-BAF5-6D04234BB003}" type="presParOf" srcId="{ACF87BA0-827E-4067-A56D-21C8EBED5E85}" destId="{CAA6BA3B-0F9A-4F26-8076-0536A3EE0DF8}" srcOrd="2" destOrd="0" presId="urn:microsoft.com/office/officeart/2005/8/layout/process3"/>
    <dgm:cxn modelId="{F99E444B-B4E0-40F1-8C06-2604BA42FE55}" type="presParOf" srcId="{CAA6BA3B-0F9A-4F26-8076-0536A3EE0DF8}" destId="{DF24A95D-A3FD-48ED-A7FF-4792ED8736F8}" srcOrd="0" destOrd="0" presId="urn:microsoft.com/office/officeart/2005/8/layout/process3"/>
    <dgm:cxn modelId="{5E5CF6F1-4F51-4D67-B5B3-8C6547FBDEEC}" type="presParOf" srcId="{CAA6BA3B-0F9A-4F26-8076-0536A3EE0DF8}" destId="{FA2E93AE-2098-49D0-9473-591D8D191E4B}" srcOrd="1" destOrd="0" presId="urn:microsoft.com/office/officeart/2005/8/layout/process3"/>
    <dgm:cxn modelId="{52ECD306-5BAB-40CD-A8A8-9EDDF9D53192}" type="presParOf" srcId="{CAA6BA3B-0F9A-4F26-8076-0536A3EE0DF8}" destId="{51B30C7F-40A0-4F75-AF53-AB05C04F6C8A}" srcOrd="2" destOrd="0" presId="urn:microsoft.com/office/officeart/2005/8/layout/process3"/>
    <dgm:cxn modelId="{5FF54BF4-AAF1-49D6-9402-8E9F02726791}" type="presParOf" srcId="{ACF87BA0-827E-4067-A56D-21C8EBED5E85}" destId="{929B5A78-5BA9-45C0-A91A-BE0E6C52788E}" srcOrd="3" destOrd="0" presId="urn:microsoft.com/office/officeart/2005/8/layout/process3"/>
    <dgm:cxn modelId="{2E130B68-38DB-4835-9137-0BA56CC7D92E}" type="presParOf" srcId="{929B5A78-5BA9-45C0-A91A-BE0E6C52788E}" destId="{76E6CABA-6F7A-4B1C-96BA-8788729FF877}" srcOrd="0" destOrd="0" presId="urn:microsoft.com/office/officeart/2005/8/layout/process3"/>
    <dgm:cxn modelId="{30050FD5-2D79-4A2B-ADE7-534FCD3E9FBD}" type="presParOf" srcId="{ACF87BA0-827E-4067-A56D-21C8EBED5E85}" destId="{2FA06715-4332-4CFC-8EA1-07CEC270DCA2}" srcOrd="4" destOrd="0" presId="urn:microsoft.com/office/officeart/2005/8/layout/process3"/>
    <dgm:cxn modelId="{52949DCC-D22A-4276-A761-19C4AF8114C5}" type="presParOf" srcId="{2FA06715-4332-4CFC-8EA1-07CEC270DCA2}" destId="{4F340094-70AB-453E-83A9-1508995BD34F}" srcOrd="0" destOrd="0" presId="urn:microsoft.com/office/officeart/2005/8/layout/process3"/>
    <dgm:cxn modelId="{48A874C1-C796-4FDD-9AA3-BEE6F4502107}" type="presParOf" srcId="{2FA06715-4332-4CFC-8EA1-07CEC270DCA2}" destId="{889D9DF3-4176-4A88-BE35-796A6571C501}" srcOrd="1" destOrd="0" presId="urn:microsoft.com/office/officeart/2005/8/layout/process3"/>
    <dgm:cxn modelId="{CAEEB0CE-A195-4763-ABE5-FE2BEF71B9FD}" type="presParOf" srcId="{2FA06715-4332-4CFC-8EA1-07CEC270DCA2}" destId="{DD876723-B8B5-4B58-AC90-014762D7785A}" srcOrd="2" destOrd="0" presId="urn:microsoft.com/office/officeart/2005/8/layout/process3"/>
    <dgm:cxn modelId="{63F92EEF-88F0-48A5-999B-A53066FA3F7A}" type="presParOf" srcId="{ACF87BA0-827E-4067-A56D-21C8EBED5E85}" destId="{B6FCCECD-0E52-4245-BDCB-B65F0C81F2CF}" srcOrd="5" destOrd="0" presId="urn:microsoft.com/office/officeart/2005/8/layout/process3"/>
    <dgm:cxn modelId="{3226738C-BDC9-4378-84DA-10E67E301CC1}" type="presParOf" srcId="{B6FCCECD-0E52-4245-BDCB-B65F0C81F2CF}" destId="{A99077AE-9CE9-451A-96B0-EBF67396907B}" srcOrd="0" destOrd="0" presId="urn:microsoft.com/office/officeart/2005/8/layout/process3"/>
    <dgm:cxn modelId="{2A8D4904-610B-44B0-B1EC-8DBA1525CFD4}" type="presParOf" srcId="{ACF87BA0-827E-4067-A56D-21C8EBED5E85}" destId="{0171B525-D1F9-4334-85BB-38BDC9E45F2C}" srcOrd="6" destOrd="0" presId="urn:microsoft.com/office/officeart/2005/8/layout/process3"/>
    <dgm:cxn modelId="{81BA3C99-C5EC-4BDB-99E2-1E93668EE890}" type="presParOf" srcId="{0171B525-D1F9-4334-85BB-38BDC9E45F2C}" destId="{809C96F8-8B57-4C7A-A34B-0E734AB4CF8E}" srcOrd="0" destOrd="0" presId="urn:microsoft.com/office/officeart/2005/8/layout/process3"/>
    <dgm:cxn modelId="{05602AA8-47C7-4F2C-A6D4-2201FF794B50}" type="presParOf" srcId="{0171B525-D1F9-4334-85BB-38BDC9E45F2C}" destId="{C5C0BF84-3D4F-4E45-811F-C8EE91F3D3D5}" srcOrd="1" destOrd="0" presId="urn:microsoft.com/office/officeart/2005/8/layout/process3"/>
    <dgm:cxn modelId="{BAC6C51D-CD41-450C-B8AD-CEAC4F31C90E}" type="presParOf" srcId="{0171B525-D1F9-4334-85BB-38BDC9E45F2C}" destId="{C050ADDE-7216-451F-BC25-5CD750E8A8C4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D81D4C8-6649-44AE-9D7B-4E3CB2331B83}" type="doc">
      <dgm:prSet loTypeId="urn:microsoft.com/office/officeart/2005/8/layout/bProcess3" loCatId="process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pt-BR"/>
        </a:p>
      </dgm:t>
    </dgm:pt>
    <dgm:pt modelId="{CE66632F-747D-4602-AE21-6E4819055596}">
      <dgm:prSet phldrT="[Texto]" custT="1"/>
      <dgm:spPr/>
      <dgm:t>
        <a:bodyPr/>
        <a:lstStyle/>
        <a:p>
          <a:r>
            <a:rPr lang="pt-BR" sz="1000" dirty="0" smtClean="0">
              <a:latin typeface="Simplon BP Light" pitchFamily="2" charset="0"/>
            </a:rPr>
            <a:t>CRM</a:t>
          </a:r>
          <a:endParaRPr lang="pt-BR" sz="1000" dirty="0">
            <a:latin typeface="Simplon BP Light" pitchFamily="2" charset="0"/>
          </a:endParaRPr>
        </a:p>
      </dgm:t>
    </dgm:pt>
    <dgm:pt modelId="{16F77739-30B9-4F11-8027-62EF89B4F463}" type="parTrans" cxnId="{45E621FF-7DA3-4C3E-8D74-6639077B2027}">
      <dgm:prSet/>
      <dgm:spPr/>
      <dgm:t>
        <a:bodyPr/>
        <a:lstStyle/>
        <a:p>
          <a:endParaRPr lang="pt-BR" sz="2400"/>
        </a:p>
      </dgm:t>
    </dgm:pt>
    <dgm:pt modelId="{81C234DA-093D-4B4A-87E0-FC85F66E58CE}" type="sibTrans" cxnId="{45E621FF-7DA3-4C3E-8D74-6639077B2027}">
      <dgm:prSet custT="1"/>
      <dgm:spPr/>
      <dgm:t>
        <a:bodyPr/>
        <a:lstStyle/>
        <a:p>
          <a:endParaRPr lang="pt-BR" sz="2400"/>
        </a:p>
      </dgm:t>
    </dgm:pt>
    <dgm:pt modelId="{190F02D0-4834-4512-B5D7-2DA9469B47D5}">
      <dgm:prSet phldrT="[Texto]" custT="1"/>
      <dgm:spPr/>
      <dgm:t>
        <a:bodyPr/>
        <a:lstStyle/>
        <a:p>
          <a:r>
            <a:rPr lang="pt-BR" sz="800" dirty="0" smtClean="0">
              <a:latin typeface="Simplon BP Light" pitchFamily="2" charset="0"/>
            </a:rPr>
            <a:t>FPD/ INADIMPLÊNCIA</a:t>
          </a:r>
          <a:endParaRPr lang="pt-BR" sz="800" dirty="0">
            <a:latin typeface="Simplon BP Light" pitchFamily="2" charset="0"/>
          </a:endParaRPr>
        </a:p>
      </dgm:t>
    </dgm:pt>
    <dgm:pt modelId="{3031ABD7-3C0C-4F1E-8A76-9445F6A2FFE6}" type="parTrans" cxnId="{A95818A5-EB39-4C9C-93CE-BDDD98921F88}">
      <dgm:prSet/>
      <dgm:spPr/>
      <dgm:t>
        <a:bodyPr/>
        <a:lstStyle/>
        <a:p>
          <a:endParaRPr lang="pt-BR" sz="2400"/>
        </a:p>
      </dgm:t>
    </dgm:pt>
    <dgm:pt modelId="{CF4069F2-1519-42B1-ACCF-813569BEEFBC}" type="sibTrans" cxnId="{A95818A5-EB39-4C9C-93CE-BDDD98921F88}">
      <dgm:prSet custT="1"/>
      <dgm:spPr/>
      <dgm:t>
        <a:bodyPr/>
        <a:lstStyle/>
        <a:p>
          <a:endParaRPr lang="pt-BR" sz="2400"/>
        </a:p>
      </dgm:t>
    </dgm:pt>
    <dgm:pt modelId="{856A63EC-6DDC-4E94-B208-9310C816EBFA}">
      <dgm:prSet phldrT="[Texto]" custT="1"/>
      <dgm:spPr/>
      <dgm:t>
        <a:bodyPr/>
        <a:lstStyle/>
        <a:p>
          <a:r>
            <a:rPr lang="pt-BR" sz="700" dirty="0" smtClean="0">
              <a:latin typeface="Simplon BP Light" pitchFamily="2" charset="0"/>
            </a:rPr>
            <a:t>FRAUDES OI, VIVO, TIM, CLARO</a:t>
          </a:r>
          <a:endParaRPr lang="pt-BR" sz="700" dirty="0">
            <a:latin typeface="Simplon BP Light" pitchFamily="2" charset="0"/>
          </a:endParaRPr>
        </a:p>
      </dgm:t>
    </dgm:pt>
    <dgm:pt modelId="{DFD5EF9A-7F14-4BE7-A824-71699B139BE1}" type="parTrans" cxnId="{12D7EA31-C5E9-4604-830C-0EE45DA677DA}">
      <dgm:prSet/>
      <dgm:spPr/>
      <dgm:t>
        <a:bodyPr/>
        <a:lstStyle/>
        <a:p>
          <a:endParaRPr lang="pt-BR" sz="2400"/>
        </a:p>
      </dgm:t>
    </dgm:pt>
    <dgm:pt modelId="{FFD1F007-4F90-4FF4-A5E0-F1D9C011948C}" type="sibTrans" cxnId="{12D7EA31-C5E9-4604-830C-0EE45DA677DA}">
      <dgm:prSet custT="1"/>
      <dgm:spPr/>
      <dgm:t>
        <a:bodyPr/>
        <a:lstStyle/>
        <a:p>
          <a:endParaRPr lang="pt-BR" sz="2400"/>
        </a:p>
      </dgm:t>
    </dgm:pt>
    <dgm:pt modelId="{4B1AA58C-E07E-4A70-9B58-43590754E49B}">
      <dgm:prSet phldrT="[Texto]" custT="1"/>
      <dgm:spPr/>
      <dgm:t>
        <a:bodyPr/>
        <a:lstStyle/>
        <a:p>
          <a:r>
            <a:rPr lang="pt-BR" sz="1000" dirty="0" smtClean="0">
              <a:latin typeface="Simplon BP Light" pitchFamily="2" charset="0"/>
            </a:rPr>
            <a:t>URA</a:t>
          </a:r>
          <a:endParaRPr lang="pt-BR" sz="1000" dirty="0">
            <a:latin typeface="Simplon BP Light" pitchFamily="2" charset="0"/>
          </a:endParaRPr>
        </a:p>
      </dgm:t>
    </dgm:pt>
    <dgm:pt modelId="{BB9E0E2B-1865-4655-888E-0702C873B819}" type="parTrans" cxnId="{A2865FD7-166F-4AAC-BA3C-D82A8CC8AF42}">
      <dgm:prSet/>
      <dgm:spPr/>
      <dgm:t>
        <a:bodyPr/>
        <a:lstStyle/>
        <a:p>
          <a:endParaRPr lang="pt-BR" sz="2400"/>
        </a:p>
      </dgm:t>
    </dgm:pt>
    <dgm:pt modelId="{FB38983E-B230-4B61-B9F1-7BA6F8D8A255}" type="sibTrans" cxnId="{A2865FD7-166F-4AAC-BA3C-D82A8CC8AF42}">
      <dgm:prSet custT="1"/>
      <dgm:spPr/>
      <dgm:t>
        <a:bodyPr/>
        <a:lstStyle/>
        <a:p>
          <a:endParaRPr lang="pt-BR" sz="2400"/>
        </a:p>
      </dgm:t>
    </dgm:pt>
    <dgm:pt modelId="{0E652423-542A-4D09-886E-E3E726CE8D7A}">
      <dgm:prSet phldrT="[Texto]" custT="1"/>
      <dgm:spPr/>
      <dgm:t>
        <a:bodyPr/>
        <a:lstStyle/>
        <a:p>
          <a:r>
            <a:rPr lang="pt-BR" sz="1000" dirty="0" smtClean="0">
              <a:latin typeface="Simplon BP Light" pitchFamily="2" charset="0"/>
            </a:rPr>
            <a:t>SCORE EXTERNO</a:t>
          </a:r>
          <a:endParaRPr lang="pt-BR" sz="1000" dirty="0">
            <a:latin typeface="Simplon BP Light" pitchFamily="2" charset="0"/>
          </a:endParaRPr>
        </a:p>
      </dgm:t>
    </dgm:pt>
    <dgm:pt modelId="{0234E081-D515-4975-ACCA-AC78D72BC8E1}" type="parTrans" cxnId="{1E4D99A0-9998-4371-8217-8332F23550FD}">
      <dgm:prSet/>
      <dgm:spPr/>
      <dgm:t>
        <a:bodyPr/>
        <a:lstStyle/>
        <a:p>
          <a:endParaRPr lang="pt-BR" sz="2400"/>
        </a:p>
      </dgm:t>
    </dgm:pt>
    <dgm:pt modelId="{9E839F3A-F3D9-4D76-B68F-4F33ECA624C9}" type="sibTrans" cxnId="{1E4D99A0-9998-4371-8217-8332F23550FD}">
      <dgm:prSet custT="1"/>
      <dgm:spPr/>
      <dgm:t>
        <a:bodyPr/>
        <a:lstStyle/>
        <a:p>
          <a:endParaRPr lang="pt-BR" sz="2400"/>
        </a:p>
      </dgm:t>
    </dgm:pt>
    <dgm:pt modelId="{2727CB2C-6C87-405A-8BA8-AC003C7BD47A}">
      <dgm:prSet phldrT="[Texto]" custT="1"/>
      <dgm:spPr/>
      <dgm:t>
        <a:bodyPr/>
        <a:lstStyle/>
        <a:p>
          <a:r>
            <a:rPr lang="pt-BR" sz="700" dirty="0" smtClean="0">
              <a:latin typeface="Simplon BP Light" pitchFamily="2" charset="0"/>
            </a:rPr>
            <a:t>CADASTRO </a:t>
          </a:r>
          <a:r>
            <a:rPr lang="pt-BR" sz="700" dirty="0" err="1" smtClean="0">
              <a:latin typeface="Simplon BP Light" pitchFamily="2" charset="0"/>
            </a:rPr>
            <a:t>PDVs</a:t>
          </a:r>
          <a:r>
            <a:rPr lang="pt-BR" sz="700" dirty="0" smtClean="0">
              <a:latin typeface="Simplon BP Light" pitchFamily="2" charset="0"/>
            </a:rPr>
            <a:t>/LOGINS (</a:t>
          </a:r>
          <a:r>
            <a:rPr lang="pt-BR" sz="500" dirty="0" smtClean="0">
              <a:latin typeface="Simplon BP Light" pitchFamily="2" charset="0"/>
            </a:rPr>
            <a:t>CONTAX, BTCC, ETC)</a:t>
          </a:r>
          <a:endParaRPr lang="pt-BR" sz="500" dirty="0">
            <a:latin typeface="Simplon BP Light" pitchFamily="2" charset="0"/>
          </a:endParaRPr>
        </a:p>
      </dgm:t>
    </dgm:pt>
    <dgm:pt modelId="{72D45414-F9BA-475D-8996-A70F2E701278}" type="parTrans" cxnId="{95DC1312-BEF8-4857-9AEC-87575252ED2E}">
      <dgm:prSet/>
      <dgm:spPr/>
      <dgm:t>
        <a:bodyPr/>
        <a:lstStyle/>
        <a:p>
          <a:endParaRPr lang="pt-BR" sz="2400"/>
        </a:p>
      </dgm:t>
    </dgm:pt>
    <dgm:pt modelId="{AA99B963-3787-454F-A3AA-96CCDF867445}" type="sibTrans" cxnId="{95DC1312-BEF8-4857-9AEC-87575252ED2E}">
      <dgm:prSet custT="1"/>
      <dgm:spPr/>
      <dgm:t>
        <a:bodyPr/>
        <a:lstStyle/>
        <a:p>
          <a:endParaRPr lang="pt-BR" sz="2400"/>
        </a:p>
      </dgm:t>
    </dgm:pt>
    <dgm:pt modelId="{F0023441-1AF0-4F13-999B-76B04BBBA9FC}">
      <dgm:prSet phldrT="[Texto]" custT="1"/>
      <dgm:spPr/>
      <dgm:t>
        <a:bodyPr/>
        <a:lstStyle/>
        <a:p>
          <a:r>
            <a:rPr lang="pt-BR" sz="800" dirty="0" smtClean="0">
              <a:latin typeface="Simplon BP Light" pitchFamily="2" charset="0"/>
            </a:rPr>
            <a:t>DW/BOV (PLANTA, GROSS, CHURN)</a:t>
          </a:r>
          <a:endParaRPr lang="pt-BR" sz="800" dirty="0">
            <a:latin typeface="Simplon BP Light" pitchFamily="2" charset="0"/>
          </a:endParaRPr>
        </a:p>
      </dgm:t>
    </dgm:pt>
    <dgm:pt modelId="{BA07957E-C82C-4CD8-A61A-020D88EDF66C}" type="parTrans" cxnId="{085CEFD3-0433-4D3B-9E12-18298383186B}">
      <dgm:prSet/>
      <dgm:spPr/>
      <dgm:t>
        <a:bodyPr/>
        <a:lstStyle/>
        <a:p>
          <a:endParaRPr lang="pt-BR" sz="2400"/>
        </a:p>
      </dgm:t>
    </dgm:pt>
    <dgm:pt modelId="{D7656D76-4E9B-4902-9077-4BDBCFF19788}" type="sibTrans" cxnId="{085CEFD3-0433-4D3B-9E12-18298383186B}">
      <dgm:prSet custT="1"/>
      <dgm:spPr/>
      <dgm:t>
        <a:bodyPr/>
        <a:lstStyle/>
        <a:p>
          <a:endParaRPr lang="pt-BR" sz="2400"/>
        </a:p>
      </dgm:t>
    </dgm:pt>
    <dgm:pt modelId="{80962DDD-3417-47F5-A940-03AD84AA04FE}">
      <dgm:prSet phldrT="[Texto]" custT="1"/>
      <dgm:spPr/>
      <dgm:t>
        <a:bodyPr/>
        <a:lstStyle/>
        <a:p>
          <a:r>
            <a:rPr lang="pt-BR" sz="1000" dirty="0" smtClean="0">
              <a:latin typeface="Simplon BP Light" pitchFamily="2" charset="0"/>
            </a:rPr>
            <a:t>FATURAMENTO</a:t>
          </a:r>
          <a:endParaRPr lang="pt-BR" sz="1000" dirty="0">
            <a:latin typeface="Simplon BP Light" pitchFamily="2" charset="0"/>
          </a:endParaRPr>
        </a:p>
      </dgm:t>
    </dgm:pt>
    <dgm:pt modelId="{6EB4387B-23BE-4A4F-AE49-9BFC15984D73}" type="parTrans" cxnId="{006BE2CF-49E9-4AE2-90C5-CDEA624077F5}">
      <dgm:prSet/>
      <dgm:spPr/>
      <dgm:t>
        <a:bodyPr/>
        <a:lstStyle/>
        <a:p>
          <a:endParaRPr lang="pt-BR" sz="2400"/>
        </a:p>
      </dgm:t>
    </dgm:pt>
    <dgm:pt modelId="{BBBF9549-B53C-4881-B598-49FA1918DB9F}" type="sibTrans" cxnId="{006BE2CF-49E9-4AE2-90C5-CDEA624077F5}">
      <dgm:prSet custT="1"/>
      <dgm:spPr/>
      <dgm:t>
        <a:bodyPr/>
        <a:lstStyle/>
        <a:p>
          <a:endParaRPr lang="pt-BR" sz="2400"/>
        </a:p>
      </dgm:t>
    </dgm:pt>
    <dgm:pt modelId="{A20B85F5-BC81-4B42-838B-8E35AB6CA01F}">
      <dgm:prSet phldrT="[Texto]" custT="1"/>
      <dgm:spPr/>
      <dgm:t>
        <a:bodyPr/>
        <a:lstStyle/>
        <a:p>
          <a:r>
            <a:rPr lang="pt-BR" sz="1000" dirty="0" smtClean="0">
              <a:latin typeface="Simplon BP Light" pitchFamily="2" charset="0"/>
            </a:rPr>
            <a:t>M4U</a:t>
          </a:r>
          <a:endParaRPr lang="pt-BR" sz="1000" dirty="0">
            <a:latin typeface="Simplon BP Light" pitchFamily="2" charset="0"/>
          </a:endParaRPr>
        </a:p>
      </dgm:t>
    </dgm:pt>
    <dgm:pt modelId="{3B530222-C3D3-4E49-BF75-122D1819484B}" type="parTrans" cxnId="{C013EAE7-38B9-4F99-BD25-7ADC7C599F86}">
      <dgm:prSet/>
      <dgm:spPr/>
      <dgm:t>
        <a:bodyPr/>
        <a:lstStyle/>
        <a:p>
          <a:endParaRPr lang="pt-BR" sz="2400"/>
        </a:p>
      </dgm:t>
    </dgm:pt>
    <dgm:pt modelId="{4CE889BB-5D7E-4829-9723-91B010224922}" type="sibTrans" cxnId="{C013EAE7-38B9-4F99-BD25-7ADC7C599F86}">
      <dgm:prSet custT="1"/>
      <dgm:spPr/>
      <dgm:t>
        <a:bodyPr/>
        <a:lstStyle/>
        <a:p>
          <a:endParaRPr lang="pt-BR" sz="2400"/>
        </a:p>
      </dgm:t>
    </dgm:pt>
    <dgm:pt modelId="{BDE11CDB-8652-4B32-892C-FA44724C3F47}">
      <dgm:prSet phldrT="[Texto]" custT="1"/>
      <dgm:spPr/>
      <dgm:t>
        <a:bodyPr/>
        <a:lstStyle/>
        <a:p>
          <a:r>
            <a:rPr lang="pt-BR" sz="1000" dirty="0" err="1" smtClean="0">
              <a:latin typeface="Simplon BP Light" pitchFamily="2" charset="0"/>
            </a:rPr>
            <a:t>CDRs</a:t>
          </a:r>
          <a:r>
            <a:rPr lang="pt-BR" sz="1000" dirty="0" smtClean="0">
              <a:latin typeface="Simplon BP Light" pitchFamily="2" charset="0"/>
            </a:rPr>
            <a:t> VOZ, DADOS, SMS</a:t>
          </a:r>
          <a:endParaRPr lang="pt-BR" sz="1000" dirty="0">
            <a:latin typeface="Simplon BP Light" pitchFamily="2" charset="0"/>
          </a:endParaRPr>
        </a:p>
      </dgm:t>
    </dgm:pt>
    <dgm:pt modelId="{6EE7554C-1FF4-489C-8E9E-5BECE624BE59}" type="parTrans" cxnId="{E4133053-4D30-4CFA-BC9A-5ACF74427387}">
      <dgm:prSet/>
      <dgm:spPr/>
      <dgm:t>
        <a:bodyPr/>
        <a:lstStyle/>
        <a:p>
          <a:endParaRPr lang="pt-BR" sz="1000"/>
        </a:p>
      </dgm:t>
    </dgm:pt>
    <dgm:pt modelId="{574257F7-EEDC-4373-8D37-4B1B557ECABB}" type="sibTrans" cxnId="{E4133053-4D30-4CFA-BC9A-5ACF74427387}">
      <dgm:prSet custT="1"/>
      <dgm:spPr/>
      <dgm:t>
        <a:bodyPr/>
        <a:lstStyle/>
        <a:p>
          <a:endParaRPr lang="pt-BR" sz="100"/>
        </a:p>
      </dgm:t>
    </dgm:pt>
    <dgm:pt modelId="{A2C7DB37-47EB-4CE4-A9B2-7A25DA859C09}">
      <dgm:prSet phldrT="[Texto]" custT="1"/>
      <dgm:spPr/>
      <dgm:t>
        <a:bodyPr/>
        <a:lstStyle/>
        <a:p>
          <a:r>
            <a:rPr lang="pt-BR" sz="1000" dirty="0" smtClean="0">
              <a:latin typeface="Simplon BP Light" pitchFamily="2" charset="0"/>
            </a:rPr>
            <a:t>RECARGA PRE</a:t>
          </a:r>
          <a:endParaRPr lang="pt-BR" sz="1000" dirty="0">
            <a:latin typeface="Simplon BP Light" pitchFamily="2" charset="0"/>
          </a:endParaRPr>
        </a:p>
      </dgm:t>
    </dgm:pt>
    <dgm:pt modelId="{4CD2AA89-2CA6-484D-9943-EB1F87B97352}" type="parTrans" cxnId="{7FCB48FA-E796-4488-8537-6AC4550D54E6}">
      <dgm:prSet/>
      <dgm:spPr/>
      <dgm:t>
        <a:bodyPr/>
        <a:lstStyle/>
        <a:p>
          <a:endParaRPr lang="pt-BR" sz="1000"/>
        </a:p>
      </dgm:t>
    </dgm:pt>
    <dgm:pt modelId="{BDD59DFE-21A0-49F0-B2C7-25B9E9496960}" type="sibTrans" cxnId="{7FCB48FA-E796-4488-8537-6AC4550D54E6}">
      <dgm:prSet custT="1"/>
      <dgm:spPr/>
      <dgm:t>
        <a:bodyPr/>
        <a:lstStyle/>
        <a:p>
          <a:endParaRPr lang="pt-BR" sz="100"/>
        </a:p>
      </dgm:t>
    </dgm:pt>
    <dgm:pt modelId="{943463B2-96B5-4386-8371-652CD24B9DFE}">
      <dgm:prSet phldrT="[Texto]" custT="1"/>
      <dgm:spPr/>
      <dgm:t>
        <a:bodyPr/>
        <a:lstStyle/>
        <a:p>
          <a:r>
            <a:rPr lang="pt-BR" sz="700" dirty="0" smtClean="0"/>
            <a:t>EVENTOS DE RISCO (ROAMING, TROCA DE CHIP)</a:t>
          </a:r>
          <a:endParaRPr lang="pt-BR" sz="700" dirty="0"/>
        </a:p>
      </dgm:t>
    </dgm:pt>
    <dgm:pt modelId="{BA598CC1-F811-49D7-B80F-34697A929F9C}" type="parTrans" cxnId="{347D4BB1-04C6-482B-963F-F96EECF6C41C}">
      <dgm:prSet/>
      <dgm:spPr/>
      <dgm:t>
        <a:bodyPr/>
        <a:lstStyle/>
        <a:p>
          <a:endParaRPr lang="pt-BR" sz="1000"/>
        </a:p>
      </dgm:t>
    </dgm:pt>
    <dgm:pt modelId="{92764E96-895A-4C92-B76C-7A5302969673}" type="sibTrans" cxnId="{347D4BB1-04C6-482B-963F-F96EECF6C41C}">
      <dgm:prSet custT="1"/>
      <dgm:spPr/>
      <dgm:t>
        <a:bodyPr/>
        <a:lstStyle/>
        <a:p>
          <a:endParaRPr lang="pt-BR" sz="100"/>
        </a:p>
      </dgm:t>
    </dgm:pt>
    <dgm:pt modelId="{274C4B31-AD25-4922-A4E0-9DF94A576071}">
      <dgm:prSet phldrT="[Texto]" custT="1"/>
      <dgm:spPr/>
      <dgm:t>
        <a:bodyPr/>
        <a:lstStyle/>
        <a:p>
          <a:r>
            <a:rPr lang="pt-BR" sz="800" dirty="0" smtClean="0">
              <a:latin typeface="Simplon BP Light" pitchFamily="2" charset="0"/>
            </a:rPr>
            <a:t>APARELHOS ROUBADOS</a:t>
          </a:r>
          <a:endParaRPr lang="pt-BR" sz="800" dirty="0">
            <a:latin typeface="Simplon BP Light" pitchFamily="2" charset="0"/>
          </a:endParaRPr>
        </a:p>
      </dgm:t>
    </dgm:pt>
    <dgm:pt modelId="{1239DA3F-4C40-488F-8AAF-AB4EE6618EB9}" type="parTrans" cxnId="{57048BA0-DB7A-4E9F-A19D-9E5EAA89B631}">
      <dgm:prSet/>
      <dgm:spPr/>
      <dgm:t>
        <a:bodyPr/>
        <a:lstStyle/>
        <a:p>
          <a:endParaRPr lang="pt-BR" sz="1000"/>
        </a:p>
      </dgm:t>
    </dgm:pt>
    <dgm:pt modelId="{9AA66FBA-853C-498A-876C-358FD300263F}" type="sibTrans" cxnId="{57048BA0-DB7A-4E9F-A19D-9E5EAA89B631}">
      <dgm:prSet custT="1"/>
      <dgm:spPr/>
      <dgm:t>
        <a:bodyPr/>
        <a:lstStyle/>
        <a:p>
          <a:endParaRPr lang="pt-BR" sz="100"/>
        </a:p>
      </dgm:t>
    </dgm:pt>
    <dgm:pt modelId="{B723B157-74E1-4211-BA0C-3DA641E69E13}" type="pres">
      <dgm:prSet presAssocID="{9D81D4C8-6649-44AE-9D7B-4E3CB2331B83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0D3EB8BB-EC95-4A48-BD2D-52C4D1DAC605}" type="pres">
      <dgm:prSet presAssocID="{CE66632F-747D-4602-AE21-6E4819055596}" presName="node" presStyleLbl="node1" presStyleIdx="0" presStyleCnt="1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17D4C5D-C018-41AA-AA85-94CE290DF803}" type="pres">
      <dgm:prSet presAssocID="{81C234DA-093D-4B4A-87E0-FC85F66E58CE}" presName="sibTrans" presStyleLbl="sibTrans1D1" presStyleIdx="0" presStyleCnt="12"/>
      <dgm:spPr/>
      <dgm:t>
        <a:bodyPr/>
        <a:lstStyle/>
        <a:p>
          <a:endParaRPr lang="pt-BR"/>
        </a:p>
      </dgm:t>
    </dgm:pt>
    <dgm:pt modelId="{B22E3010-DE64-4380-924A-FB12E5BBEB18}" type="pres">
      <dgm:prSet presAssocID="{81C234DA-093D-4B4A-87E0-FC85F66E58CE}" presName="connectorText" presStyleLbl="sibTrans1D1" presStyleIdx="0" presStyleCnt="12"/>
      <dgm:spPr/>
      <dgm:t>
        <a:bodyPr/>
        <a:lstStyle/>
        <a:p>
          <a:endParaRPr lang="pt-BR"/>
        </a:p>
      </dgm:t>
    </dgm:pt>
    <dgm:pt modelId="{187EA94A-50E2-473E-9FF7-5F90B7B5209D}" type="pres">
      <dgm:prSet presAssocID="{190F02D0-4834-4512-B5D7-2DA9469B47D5}" presName="node" presStyleLbl="node1" presStyleIdx="1" presStyleCnt="1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3E1EC96-54F6-4961-AC5A-9E2D1D2817A7}" type="pres">
      <dgm:prSet presAssocID="{CF4069F2-1519-42B1-ACCF-813569BEEFBC}" presName="sibTrans" presStyleLbl="sibTrans1D1" presStyleIdx="1" presStyleCnt="12"/>
      <dgm:spPr/>
      <dgm:t>
        <a:bodyPr/>
        <a:lstStyle/>
        <a:p>
          <a:endParaRPr lang="pt-BR"/>
        </a:p>
      </dgm:t>
    </dgm:pt>
    <dgm:pt modelId="{8575D5F6-FDE8-4950-A30C-AAD067A93A6A}" type="pres">
      <dgm:prSet presAssocID="{CF4069F2-1519-42B1-ACCF-813569BEEFBC}" presName="connectorText" presStyleLbl="sibTrans1D1" presStyleIdx="1" presStyleCnt="12"/>
      <dgm:spPr/>
      <dgm:t>
        <a:bodyPr/>
        <a:lstStyle/>
        <a:p>
          <a:endParaRPr lang="pt-BR"/>
        </a:p>
      </dgm:t>
    </dgm:pt>
    <dgm:pt modelId="{9A8C452F-A52E-47D5-89CC-5FE170468BAF}" type="pres">
      <dgm:prSet presAssocID="{856A63EC-6DDC-4E94-B208-9310C816EBFA}" presName="node" presStyleLbl="node1" presStyleIdx="2" presStyleCnt="1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0CD2E23-3716-4AD5-AAB3-B5EAF424D2B7}" type="pres">
      <dgm:prSet presAssocID="{FFD1F007-4F90-4FF4-A5E0-F1D9C011948C}" presName="sibTrans" presStyleLbl="sibTrans1D1" presStyleIdx="2" presStyleCnt="12"/>
      <dgm:spPr/>
      <dgm:t>
        <a:bodyPr/>
        <a:lstStyle/>
        <a:p>
          <a:endParaRPr lang="pt-BR"/>
        </a:p>
      </dgm:t>
    </dgm:pt>
    <dgm:pt modelId="{08C8DE30-833E-4F83-8776-D387B2D7E74A}" type="pres">
      <dgm:prSet presAssocID="{FFD1F007-4F90-4FF4-A5E0-F1D9C011948C}" presName="connectorText" presStyleLbl="sibTrans1D1" presStyleIdx="2" presStyleCnt="12"/>
      <dgm:spPr/>
      <dgm:t>
        <a:bodyPr/>
        <a:lstStyle/>
        <a:p>
          <a:endParaRPr lang="pt-BR"/>
        </a:p>
      </dgm:t>
    </dgm:pt>
    <dgm:pt modelId="{F1B5725A-5AB1-41A3-BE15-F16DDE122A05}" type="pres">
      <dgm:prSet presAssocID="{4B1AA58C-E07E-4A70-9B58-43590754E49B}" presName="node" presStyleLbl="node1" presStyleIdx="3" presStyleCnt="1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5B65E08-8F97-418B-BBBD-1BE14E3C39B8}" type="pres">
      <dgm:prSet presAssocID="{FB38983E-B230-4B61-B9F1-7BA6F8D8A255}" presName="sibTrans" presStyleLbl="sibTrans1D1" presStyleIdx="3" presStyleCnt="12"/>
      <dgm:spPr/>
      <dgm:t>
        <a:bodyPr/>
        <a:lstStyle/>
        <a:p>
          <a:endParaRPr lang="pt-BR"/>
        </a:p>
      </dgm:t>
    </dgm:pt>
    <dgm:pt modelId="{960A7C21-D76B-4E7B-9241-2D7151A731A9}" type="pres">
      <dgm:prSet presAssocID="{FB38983E-B230-4B61-B9F1-7BA6F8D8A255}" presName="connectorText" presStyleLbl="sibTrans1D1" presStyleIdx="3" presStyleCnt="12"/>
      <dgm:spPr/>
      <dgm:t>
        <a:bodyPr/>
        <a:lstStyle/>
        <a:p>
          <a:endParaRPr lang="pt-BR"/>
        </a:p>
      </dgm:t>
    </dgm:pt>
    <dgm:pt modelId="{31BBC6B6-9472-49D7-88F3-816FCE278D62}" type="pres">
      <dgm:prSet presAssocID="{0E652423-542A-4D09-886E-E3E726CE8D7A}" presName="node" presStyleLbl="node1" presStyleIdx="4" presStyleCnt="1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C5F5CFE-AD69-43C3-B1A7-8FE731FBE05D}" type="pres">
      <dgm:prSet presAssocID="{9E839F3A-F3D9-4D76-B68F-4F33ECA624C9}" presName="sibTrans" presStyleLbl="sibTrans1D1" presStyleIdx="4" presStyleCnt="12"/>
      <dgm:spPr/>
      <dgm:t>
        <a:bodyPr/>
        <a:lstStyle/>
        <a:p>
          <a:endParaRPr lang="pt-BR"/>
        </a:p>
      </dgm:t>
    </dgm:pt>
    <dgm:pt modelId="{D2177105-EF81-44B6-9E4B-242F6E43E5A8}" type="pres">
      <dgm:prSet presAssocID="{9E839F3A-F3D9-4D76-B68F-4F33ECA624C9}" presName="connectorText" presStyleLbl="sibTrans1D1" presStyleIdx="4" presStyleCnt="12"/>
      <dgm:spPr/>
      <dgm:t>
        <a:bodyPr/>
        <a:lstStyle/>
        <a:p>
          <a:endParaRPr lang="pt-BR"/>
        </a:p>
      </dgm:t>
    </dgm:pt>
    <dgm:pt modelId="{12CE49E4-BA24-4B01-BEBB-1653CF84733D}" type="pres">
      <dgm:prSet presAssocID="{2727CB2C-6C87-405A-8BA8-AC003C7BD47A}" presName="node" presStyleLbl="node1" presStyleIdx="5" presStyleCnt="1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1F22CDB-627A-4A5F-919C-2D5279BE560E}" type="pres">
      <dgm:prSet presAssocID="{AA99B963-3787-454F-A3AA-96CCDF867445}" presName="sibTrans" presStyleLbl="sibTrans1D1" presStyleIdx="5" presStyleCnt="12"/>
      <dgm:spPr/>
      <dgm:t>
        <a:bodyPr/>
        <a:lstStyle/>
        <a:p>
          <a:endParaRPr lang="pt-BR"/>
        </a:p>
      </dgm:t>
    </dgm:pt>
    <dgm:pt modelId="{D87A0FCC-59A3-4FDD-A901-6DC1D9F7702F}" type="pres">
      <dgm:prSet presAssocID="{AA99B963-3787-454F-A3AA-96CCDF867445}" presName="connectorText" presStyleLbl="sibTrans1D1" presStyleIdx="5" presStyleCnt="12"/>
      <dgm:spPr/>
      <dgm:t>
        <a:bodyPr/>
        <a:lstStyle/>
        <a:p>
          <a:endParaRPr lang="pt-BR"/>
        </a:p>
      </dgm:t>
    </dgm:pt>
    <dgm:pt modelId="{308CF5BB-2CC9-4A89-8994-7E1482F23158}" type="pres">
      <dgm:prSet presAssocID="{F0023441-1AF0-4F13-999B-76B04BBBA9FC}" presName="node" presStyleLbl="node1" presStyleIdx="6" presStyleCnt="13" custScaleX="1217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353C8922-B81C-47C9-A512-FDBB4B078C94}" type="pres">
      <dgm:prSet presAssocID="{D7656D76-4E9B-4902-9077-4BDBCFF19788}" presName="sibTrans" presStyleLbl="sibTrans1D1" presStyleIdx="6" presStyleCnt="12"/>
      <dgm:spPr/>
      <dgm:t>
        <a:bodyPr/>
        <a:lstStyle/>
        <a:p>
          <a:endParaRPr lang="pt-BR"/>
        </a:p>
      </dgm:t>
    </dgm:pt>
    <dgm:pt modelId="{4661E7FF-C245-40F7-A1E1-F8E35A3A31A5}" type="pres">
      <dgm:prSet presAssocID="{D7656D76-4E9B-4902-9077-4BDBCFF19788}" presName="connectorText" presStyleLbl="sibTrans1D1" presStyleIdx="6" presStyleCnt="12"/>
      <dgm:spPr/>
      <dgm:t>
        <a:bodyPr/>
        <a:lstStyle/>
        <a:p>
          <a:endParaRPr lang="pt-BR"/>
        </a:p>
      </dgm:t>
    </dgm:pt>
    <dgm:pt modelId="{AF5CC2C3-32D4-4830-AD50-8D76100E40D9}" type="pres">
      <dgm:prSet presAssocID="{80962DDD-3417-47F5-A940-03AD84AA04FE}" presName="node" presStyleLbl="node1" presStyleIdx="7" presStyleCnt="1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9E4B7F8-C356-4BFE-9891-81380249FABD}" type="pres">
      <dgm:prSet presAssocID="{BBBF9549-B53C-4881-B598-49FA1918DB9F}" presName="sibTrans" presStyleLbl="sibTrans1D1" presStyleIdx="7" presStyleCnt="12"/>
      <dgm:spPr/>
      <dgm:t>
        <a:bodyPr/>
        <a:lstStyle/>
        <a:p>
          <a:endParaRPr lang="pt-BR"/>
        </a:p>
      </dgm:t>
    </dgm:pt>
    <dgm:pt modelId="{99018F5E-5364-4E56-B94F-1AB60BCBDB33}" type="pres">
      <dgm:prSet presAssocID="{BBBF9549-B53C-4881-B598-49FA1918DB9F}" presName="connectorText" presStyleLbl="sibTrans1D1" presStyleIdx="7" presStyleCnt="12"/>
      <dgm:spPr/>
      <dgm:t>
        <a:bodyPr/>
        <a:lstStyle/>
        <a:p>
          <a:endParaRPr lang="pt-BR"/>
        </a:p>
      </dgm:t>
    </dgm:pt>
    <dgm:pt modelId="{BCA65635-A41B-442D-B311-F727411B5B07}" type="pres">
      <dgm:prSet presAssocID="{A20B85F5-BC81-4B42-838B-8E35AB6CA01F}" presName="node" presStyleLbl="node1" presStyleIdx="8" presStyleCnt="1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AE784D8-59F4-4A63-8697-0789CA21913E}" type="pres">
      <dgm:prSet presAssocID="{4CE889BB-5D7E-4829-9723-91B010224922}" presName="sibTrans" presStyleLbl="sibTrans1D1" presStyleIdx="8" presStyleCnt="12"/>
      <dgm:spPr/>
      <dgm:t>
        <a:bodyPr/>
        <a:lstStyle/>
        <a:p>
          <a:endParaRPr lang="pt-BR"/>
        </a:p>
      </dgm:t>
    </dgm:pt>
    <dgm:pt modelId="{9A62C7CD-8719-4ACC-98AE-6F487F60BBDC}" type="pres">
      <dgm:prSet presAssocID="{4CE889BB-5D7E-4829-9723-91B010224922}" presName="connectorText" presStyleLbl="sibTrans1D1" presStyleIdx="8" presStyleCnt="12"/>
      <dgm:spPr/>
      <dgm:t>
        <a:bodyPr/>
        <a:lstStyle/>
        <a:p>
          <a:endParaRPr lang="pt-BR"/>
        </a:p>
      </dgm:t>
    </dgm:pt>
    <dgm:pt modelId="{59BDE1F0-5BAE-41A2-A731-9BA200BB9D45}" type="pres">
      <dgm:prSet presAssocID="{BDE11CDB-8652-4B32-892C-FA44724C3F47}" presName="node" presStyleLbl="node1" presStyleIdx="9" presStyleCnt="1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7D2056E-4E23-4B14-8D4B-CED113900A8A}" type="pres">
      <dgm:prSet presAssocID="{574257F7-EEDC-4373-8D37-4B1B557ECABB}" presName="sibTrans" presStyleLbl="sibTrans1D1" presStyleIdx="9" presStyleCnt="12"/>
      <dgm:spPr/>
      <dgm:t>
        <a:bodyPr/>
        <a:lstStyle/>
        <a:p>
          <a:endParaRPr lang="pt-BR"/>
        </a:p>
      </dgm:t>
    </dgm:pt>
    <dgm:pt modelId="{B056D130-3A70-4434-B1AE-733C99C373FD}" type="pres">
      <dgm:prSet presAssocID="{574257F7-EEDC-4373-8D37-4B1B557ECABB}" presName="connectorText" presStyleLbl="sibTrans1D1" presStyleIdx="9" presStyleCnt="12"/>
      <dgm:spPr/>
      <dgm:t>
        <a:bodyPr/>
        <a:lstStyle/>
        <a:p>
          <a:endParaRPr lang="pt-BR"/>
        </a:p>
      </dgm:t>
    </dgm:pt>
    <dgm:pt modelId="{D4EDA44C-3E5F-4ADB-940F-A871D4EB71FB}" type="pres">
      <dgm:prSet presAssocID="{A2C7DB37-47EB-4CE4-A9B2-7A25DA859C09}" presName="node" presStyleLbl="node1" presStyleIdx="10" presStyleCnt="1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BBDB1E-E445-4333-8A9C-C517EBED6EC3}" type="pres">
      <dgm:prSet presAssocID="{BDD59DFE-21A0-49F0-B2C7-25B9E9496960}" presName="sibTrans" presStyleLbl="sibTrans1D1" presStyleIdx="10" presStyleCnt="12"/>
      <dgm:spPr/>
      <dgm:t>
        <a:bodyPr/>
        <a:lstStyle/>
        <a:p>
          <a:endParaRPr lang="pt-BR"/>
        </a:p>
      </dgm:t>
    </dgm:pt>
    <dgm:pt modelId="{6245DFD3-1991-40D6-A4CF-10407A4295F1}" type="pres">
      <dgm:prSet presAssocID="{BDD59DFE-21A0-49F0-B2C7-25B9E9496960}" presName="connectorText" presStyleLbl="sibTrans1D1" presStyleIdx="10" presStyleCnt="12"/>
      <dgm:spPr/>
      <dgm:t>
        <a:bodyPr/>
        <a:lstStyle/>
        <a:p>
          <a:endParaRPr lang="pt-BR"/>
        </a:p>
      </dgm:t>
    </dgm:pt>
    <dgm:pt modelId="{28CE58FC-B089-48F6-8798-42911F84F4E4}" type="pres">
      <dgm:prSet presAssocID="{943463B2-96B5-4386-8371-652CD24B9DFE}" presName="node" presStyleLbl="node1" presStyleIdx="11" presStyleCnt="13" custScaleX="123347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6DD84CB-C635-4E51-B36C-75D3BB4702B5}" type="pres">
      <dgm:prSet presAssocID="{92764E96-895A-4C92-B76C-7A5302969673}" presName="sibTrans" presStyleLbl="sibTrans1D1" presStyleIdx="11" presStyleCnt="12"/>
      <dgm:spPr/>
      <dgm:t>
        <a:bodyPr/>
        <a:lstStyle/>
        <a:p>
          <a:endParaRPr lang="pt-BR"/>
        </a:p>
      </dgm:t>
    </dgm:pt>
    <dgm:pt modelId="{0B64BF36-C1B8-4ADD-9411-B9272FCFF6AC}" type="pres">
      <dgm:prSet presAssocID="{92764E96-895A-4C92-B76C-7A5302969673}" presName="connectorText" presStyleLbl="sibTrans1D1" presStyleIdx="11" presStyleCnt="12"/>
      <dgm:spPr/>
      <dgm:t>
        <a:bodyPr/>
        <a:lstStyle/>
        <a:p>
          <a:endParaRPr lang="pt-BR"/>
        </a:p>
      </dgm:t>
    </dgm:pt>
    <dgm:pt modelId="{BDA09DF9-390B-4D9E-9BF7-1F2491744B6A}" type="pres">
      <dgm:prSet presAssocID="{274C4B31-AD25-4922-A4E0-9DF94A576071}" presName="node" presStyleLbl="node1" presStyleIdx="12" presStyleCnt="1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6FC8E4DB-2926-42A6-8692-584B8CF23801}" type="presOf" srcId="{0E652423-542A-4D09-886E-E3E726CE8D7A}" destId="{31BBC6B6-9472-49D7-88F3-816FCE278D62}" srcOrd="0" destOrd="0" presId="urn:microsoft.com/office/officeart/2005/8/layout/bProcess3"/>
    <dgm:cxn modelId="{7FCB48FA-E796-4488-8537-6AC4550D54E6}" srcId="{9D81D4C8-6649-44AE-9D7B-4E3CB2331B83}" destId="{A2C7DB37-47EB-4CE4-A9B2-7A25DA859C09}" srcOrd="10" destOrd="0" parTransId="{4CD2AA89-2CA6-484D-9943-EB1F87B97352}" sibTransId="{BDD59DFE-21A0-49F0-B2C7-25B9E9496960}"/>
    <dgm:cxn modelId="{D570BF4F-51FE-421F-B709-1DC725E3F778}" type="presOf" srcId="{81C234DA-093D-4B4A-87E0-FC85F66E58CE}" destId="{B22E3010-DE64-4380-924A-FB12E5BBEB18}" srcOrd="1" destOrd="0" presId="urn:microsoft.com/office/officeart/2005/8/layout/bProcess3"/>
    <dgm:cxn modelId="{1B0B8D30-42D2-4119-B1AF-B2842143B55E}" type="presOf" srcId="{190F02D0-4834-4512-B5D7-2DA9469B47D5}" destId="{187EA94A-50E2-473E-9FF7-5F90B7B5209D}" srcOrd="0" destOrd="0" presId="urn:microsoft.com/office/officeart/2005/8/layout/bProcess3"/>
    <dgm:cxn modelId="{17AE8CDD-5F78-4D05-848C-EDC680C9CFE6}" type="presOf" srcId="{FFD1F007-4F90-4FF4-A5E0-F1D9C011948C}" destId="{08C8DE30-833E-4F83-8776-D387B2D7E74A}" srcOrd="1" destOrd="0" presId="urn:microsoft.com/office/officeart/2005/8/layout/bProcess3"/>
    <dgm:cxn modelId="{4FBBB45A-2EA5-40DD-A5D1-A3140AE7DEA5}" type="presOf" srcId="{D7656D76-4E9B-4902-9077-4BDBCFF19788}" destId="{4661E7FF-C245-40F7-A1E1-F8E35A3A31A5}" srcOrd="1" destOrd="0" presId="urn:microsoft.com/office/officeart/2005/8/layout/bProcess3"/>
    <dgm:cxn modelId="{BDC8A6B4-BE6C-4C77-BF1D-1266F331D421}" type="presOf" srcId="{FB38983E-B230-4B61-B9F1-7BA6F8D8A255}" destId="{E5B65E08-8F97-418B-BBBD-1BE14E3C39B8}" srcOrd="0" destOrd="0" presId="urn:microsoft.com/office/officeart/2005/8/layout/bProcess3"/>
    <dgm:cxn modelId="{4A3ECFDA-5B56-4A0D-BC4B-6AD5EB23FF53}" type="presOf" srcId="{4CE889BB-5D7E-4829-9723-91B010224922}" destId="{9A62C7CD-8719-4ACC-98AE-6F487F60BBDC}" srcOrd="1" destOrd="0" presId="urn:microsoft.com/office/officeart/2005/8/layout/bProcess3"/>
    <dgm:cxn modelId="{5998D784-E9A4-4408-9274-CA18E43B1669}" type="presOf" srcId="{274C4B31-AD25-4922-A4E0-9DF94A576071}" destId="{BDA09DF9-390B-4D9E-9BF7-1F2491744B6A}" srcOrd="0" destOrd="0" presId="urn:microsoft.com/office/officeart/2005/8/layout/bProcess3"/>
    <dgm:cxn modelId="{1E4D99A0-9998-4371-8217-8332F23550FD}" srcId="{9D81D4C8-6649-44AE-9D7B-4E3CB2331B83}" destId="{0E652423-542A-4D09-886E-E3E726CE8D7A}" srcOrd="4" destOrd="0" parTransId="{0234E081-D515-4975-ACCA-AC78D72BC8E1}" sibTransId="{9E839F3A-F3D9-4D76-B68F-4F33ECA624C9}"/>
    <dgm:cxn modelId="{3F864162-C1EA-4B02-81A7-78470586276C}" type="presOf" srcId="{FFD1F007-4F90-4FF4-A5E0-F1D9C011948C}" destId="{40CD2E23-3716-4AD5-AAB3-B5EAF424D2B7}" srcOrd="0" destOrd="0" presId="urn:microsoft.com/office/officeart/2005/8/layout/bProcess3"/>
    <dgm:cxn modelId="{E4133053-4D30-4CFA-BC9A-5ACF74427387}" srcId="{9D81D4C8-6649-44AE-9D7B-4E3CB2331B83}" destId="{BDE11CDB-8652-4B32-892C-FA44724C3F47}" srcOrd="9" destOrd="0" parTransId="{6EE7554C-1FF4-489C-8E9E-5BECE624BE59}" sibTransId="{574257F7-EEDC-4373-8D37-4B1B557ECABB}"/>
    <dgm:cxn modelId="{9F4838BD-B830-4AD9-8C43-6D0C7759A66C}" type="presOf" srcId="{FB38983E-B230-4B61-B9F1-7BA6F8D8A255}" destId="{960A7C21-D76B-4E7B-9241-2D7151A731A9}" srcOrd="1" destOrd="0" presId="urn:microsoft.com/office/officeart/2005/8/layout/bProcess3"/>
    <dgm:cxn modelId="{63CD0FDD-155C-44DA-8F61-63B58D40B7DE}" type="presOf" srcId="{9D81D4C8-6649-44AE-9D7B-4E3CB2331B83}" destId="{B723B157-74E1-4211-BA0C-3DA641E69E13}" srcOrd="0" destOrd="0" presId="urn:microsoft.com/office/officeart/2005/8/layout/bProcess3"/>
    <dgm:cxn modelId="{347D4BB1-04C6-482B-963F-F96EECF6C41C}" srcId="{9D81D4C8-6649-44AE-9D7B-4E3CB2331B83}" destId="{943463B2-96B5-4386-8371-652CD24B9DFE}" srcOrd="11" destOrd="0" parTransId="{BA598CC1-F811-49D7-B80F-34697A929F9C}" sibTransId="{92764E96-895A-4C92-B76C-7A5302969673}"/>
    <dgm:cxn modelId="{D5443A82-EB36-4A6F-AEA2-5FFCA42574D5}" type="presOf" srcId="{D7656D76-4E9B-4902-9077-4BDBCFF19788}" destId="{353C8922-B81C-47C9-A512-FDBB4B078C94}" srcOrd="0" destOrd="0" presId="urn:microsoft.com/office/officeart/2005/8/layout/bProcess3"/>
    <dgm:cxn modelId="{06699209-E5A2-4865-AB65-8C2E15A85F6C}" type="presOf" srcId="{2727CB2C-6C87-405A-8BA8-AC003C7BD47A}" destId="{12CE49E4-BA24-4B01-BEBB-1653CF84733D}" srcOrd="0" destOrd="0" presId="urn:microsoft.com/office/officeart/2005/8/layout/bProcess3"/>
    <dgm:cxn modelId="{0F25D291-3B3A-490E-AF3F-6D4FEA9DBA82}" type="presOf" srcId="{BDD59DFE-21A0-49F0-B2C7-25B9E9496960}" destId="{6245DFD3-1991-40D6-A4CF-10407A4295F1}" srcOrd="1" destOrd="0" presId="urn:microsoft.com/office/officeart/2005/8/layout/bProcess3"/>
    <dgm:cxn modelId="{E049BCAA-24CB-4F4E-B980-8F11EBBC99F0}" type="presOf" srcId="{574257F7-EEDC-4373-8D37-4B1B557ECABB}" destId="{E7D2056E-4E23-4B14-8D4B-CED113900A8A}" srcOrd="0" destOrd="0" presId="urn:microsoft.com/office/officeart/2005/8/layout/bProcess3"/>
    <dgm:cxn modelId="{B8C925A7-C8DF-40D0-AF8B-9D9A31193026}" type="presOf" srcId="{BBBF9549-B53C-4881-B598-49FA1918DB9F}" destId="{D9E4B7F8-C356-4BFE-9891-81380249FABD}" srcOrd="0" destOrd="0" presId="urn:microsoft.com/office/officeart/2005/8/layout/bProcess3"/>
    <dgm:cxn modelId="{E6C0A5C3-7BDD-49E6-9C9D-248D062B96B4}" type="presOf" srcId="{A2C7DB37-47EB-4CE4-A9B2-7A25DA859C09}" destId="{D4EDA44C-3E5F-4ADB-940F-A871D4EB71FB}" srcOrd="0" destOrd="0" presId="urn:microsoft.com/office/officeart/2005/8/layout/bProcess3"/>
    <dgm:cxn modelId="{1CA93C51-C1AF-41D4-B3D0-1F1268454BBA}" type="presOf" srcId="{AA99B963-3787-454F-A3AA-96CCDF867445}" destId="{21F22CDB-627A-4A5F-919C-2D5279BE560E}" srcOrd="0" destOrd="0" presId="urn:microsoft.com/office/officeart/2005/8/layout/bProcess3"/>
    <dgm:cxn modelId="{1E6E9985-A8D9-4F8E-86B5-BE4D29E39848}" type="presOf" srcId="{4CE889BB-5D7E-4829-9723-91B010224922}" destId="{9AE784D8-59F4-4A63-8697-0789CA21913E}" srcOrd="0" destOrd="0" presId="urn:microsoft.com/office/officeart/2005/8/layout/bProcess3"/>
    <dgm:cxn modelId="{95DC1312-BEF8-4857-9AEC-87575252ED2E}" srcId="{9D81D4C8-6649-44AE-9D7B-4E3CB2331B83}" destId="{2727CB2C-6C87-405A-8BA8-AC003C7BD47A}" srcOrd="5" destOrd="0" parTransId="{72D45414-F9BA-475D-8996-A70F2E701278}" sibTransId="{AA99B963-3787-454F-A3AA-96CCDF867445}"/>
    <dgm:cxn modelId="{B3D1C448-540D-4380-8594-5A7DC3801713}" type="presOf" srcId="{9E839F3A-F3D9-4D76-B68F-4F33ECA624C9}" destId="{D2177105-EF81-44B6-9E4B-242F6E43E5A8}" srcOrd="1" destOrd="0" presId="urn:microsoft.com/office/officeart/2005/8/layout/bProcess3"/>
    <dgm:cxn modelId="{505EE1EA-62E1-440F-AEAF-48E3AB3C15FF}" type="presOf" srcId="{AA99B963-3787-454F-A3AA-96CCDF867445}" destId="{D87A0FCC-59A3-4FDD-A901-6DC1D9F7702F}" srcOrd="1" destOrd="0" presId="urn:microsoft.com/office/officeart/2005/8/layout/bProcess3"/>
    <dgm:cxn modelId="{C013EAE7-38B9-4F99-BD25-7ADC7C599F86}" srcId="{9D81D4C8-6649-44AE-9D7B-4E3CB2331B83}" destId="{A20B85F5-BC81-4B42-838B-8E35AB6CA01F}" srcOrd="8" destOrd="0" parTransId="{3B530222-C3D3-4E49-BF75-122D1819484B}" sibTransId="{4CE889BB-5D7E-4829-9723-91B010224922}"/>
    <dgm:cxn modelId="{08ECE344-7BA0-4873-A4F1-939473EDF008}" type="presOf" srcId="{943463B2-96B5-4386-8371-652CD24B9DFE}" destId="{28CE58FC-B089-48F6-8798-42911F84F4E4}" srcOrd="0" destOrd="0" presId="urn:microsoft.com/office/officeart/2005/8/layout/bProcess3"/>
    <dgm:cxn modelId="{BE50C107-9B3C-468B-AB2E-AEF37984F442}" type="presOf" srcId="{80962DDD-3417-47F5-A940-03AD84AA04FE}" destId="{AF5CC2C3-32D4-4830-AD50-8D76100E40D9}" srcOrd="0" destOrd="0" presId="urn:microsoft.com/office/officeart/2005/8/layout/bProcess3"/>
    <dgm:cxn modelId="{A2865FD7-166F-4AAC-BA3C-D82A8CC8AF42}" srcId="{9D81D4C8-6649-44AE-9D7B-4E3CB2331B83}" destId="{4B1AA58C-E07E-4A70-9B58-43590754E49B}" srcOrd="3" destOrd="0" parTransId="{BB9E0E2B-1865-4655-888E-0702C873B819}" sibTransId="{FB38983E-B230-4B61-B9F1-7BA6F8D8A255}"/>
    <dgm:cxn modelId="{848B085E-16A9-4550-B609-DD19EA5DE109}" type="presOf" srcId="{BDD59DFE-21A0-49F0-B2C7-25B9E9496960}" destId="{60BBDB1E-E445-4333-8A9C-C517EBED6EC3}" srcOrd="0" destOrd="0" presId="urn:microsoft.com/office/officeart/2005/8/layout/bProcess3"/>
    <dgm:cxn modelId="{45E621FF-7DA3-4C3E-8D74-6639077B2027}" srcId="{9D81D4C8-6649-44AE-9D7B-4E3CB2331B83}" destId="{CE66632F-747D-4602-AE21-6E4819055596}" srcOrd="0" destOrd="0" parTransId="{16F77739-30B9-4F11-8027-62EF89B4F463}" sibTransId="{81C234DA-093D-4B4A-87E0-FC85F66E58CE}"/>
    <dgm:cxn modelId="{DDE8AFEB-1F8F-454B-AA1A-95A673906E8C}" type="presOf" srcId="{A20B85F5-BC81-4B42-838B-8E35AB6CA01F}" destId="{BCA65635-A41B-442D-B311-F727411B5B07}" srcOrd="0" destOrd="0" presId="urn:microsoft.com/office/officeart/2005/8/layout/bProcess3"/>
    <dgm:cxn modelId="{121B659E-0960-4C23-9849-6C2C9845062C}" type="presOf" srcId="{BBBF9549-B53C-4881-B598-49FA1918DB9F}" destId="{99018F5E-5364-4E56-B94F-1AB60BCBDB33}" srcOrd="1" destOrd="0" presId="urn:microsoft.com/office/officeart/2005/8/layout/bProcess3"/>
    <dgm:cxn modelId="{88017C38-4B4B-4B43-AC73-41387EFD4075}" type="presOf" srcId="{92764E96-895A-4C92-B76C-7A5302969673}" destId="{46DD84CB-C635-4E51-B36C-75D3BB4702B5}" srcOrd="0" destOrd="0" presId="urn:microsoft.com/office/officeart/2005/8/layout/bProcess3"/>
    <dgm:cxn modelId="{A6C959CA-29B8-440C-80F4-407290049B20}" type="presOf" srcId="{92764E96-895A-4C92-B76C-7A5302969673}" destId="{0B64BF36-C1B8-4ADD-9411-B9272FCFF6AC}" srcOrd="1" destOrd="0" presId="urn:microsoft.com/office/officeart/2005/8/layout/bProcess3"/>
    <dgm:cxn modelId="{57048BA0-DB7A-4E9F-A19D-9E5EAA89B631}" srcId="{9D81D4C8-6649-44AE-9D7B-4E3CB2331B83}" destId="{274C4B31-AD25-4922-A4E0-9DF94A576071}" srcOrd="12" destOrd="0" parTransId="{1239DA3F-4C40-488F-8AAF-AB4EE6618EB9}" sibTransId="{9AA66FBA-853C-498A-876C-358FD300263F}"/>
    <dgm:cxn modelId="{90653402-E55D-4E0A-8886-B7BBCF34F8C9}" type="presOf" srcId="{CF4069F2-1519-42B1-ACCF-813569BEEFBC}" destId="{8575D5F6-FDE8-4950-A30C-AAD067A93A6A}" srcOrd="1" destOrd="0" presId="urn:microsoft.com/office/officeart/2005/8/layout/bProcess3"/>
    <dgm:cxn modelId="{B130D0CC-9D38-43C7-952C-E4372F76E581}" type="presOf" srcId="{574257F7-EEDC-4373-8D37-4B1B557ECABB}" destId="{B056D130-3A70-4434-B1AE-733C99C373FD}" srcOrd="1" destOrd="0" presId="urn:microsoft.com/office/officeart/2005/8/layout/bProcess3"/>
    <dgm:cxn modelId="{909217F2-E803-403D-806B-341413326C53}" type="presOf" srcId="{856A63EC-6DDC-4E94-B208-9310C816EBFA}" destId="{9A8C452F-A52E-47D5-89CC-5FE170468BAF}" srcOrd="0" destOrd="0" presId="urn:microsoft.com/office/officeart/2005/8/layout/bProcess3"/>
    <dgm:cxn modelId="{25333F81-A057-433F-B46E-CCE37172D3BE}" type="presOf" srcId="{F0023441-1AF0-4F13-999B-76B04BBBA9FC}" destId="{308CF5BB-2CC9-4A89-8994-7E1482F23158}" srcOrd="0" destOrd="0" presId="urn:microsoft.com/office/officeart/2005/8/layout/bProcess3"/>
    <dgm:cxn modelId="{F4A3CD79-F241-4DD4-B1F4-17703D8B966B}" type="presOf" srcId="{BDE11CDB-8652-4B32-892C-FA44724C3F47}" destId="{59BDE1F0-5BAE-41A2-A731-9BA200BB9D45}" srcOrd="0" destOrd="0" presId="urn:microsoft.com/office/officeart/2005/8/layout/bProcess3"/>
    <dgm:cxn modelId="{E1C376C4-2FA3-41E6-AABA-2141799ED99B}" type="presOf" srcId="{CE66632F-747D-4602-AE21-6E4819055596}" destId="{0D3EB8BB-EC95-4A48-BD2D-52C4D1DAC605}" srcOrd="0" destOrd="0" presId="urn:microsoft.com/office/officeart/2005/8/layout/bProcess3"/>
    <dgm:cxn modelId="{0AE6462A-5DA3-4818-BBA4-4A98D7D41C17}" type="presOf" srcId="{9E839F3A-F3D9-4D76-B68F-4F33ECA624C9}" destId="{1C5F5CFE-AD69-43C3-B1A7-8FE731FBE05D}" srcOrd="0" destOrd="0" presId="urn:microsoft.com/office/officeart/2005/8/layout/bProcess3"/>
    <dgm:cxn modelId="{91091130-5E2C-46F4-A4FA-F52FCB91F700}" type="presOf" srcId="{81C234DA-093D-4B4A-87E0-FC85F66E58CE}" destId="{017D4C5D-C018-41AA-AA85-94CE290DF803}" srcOrd="0" destOrd="0" presId="urn:microsoft.com/office/officeart/2005/8/layout/bProcess3"/>
    <dgm:cxn modelId="{12D7EA31-C5E9-4604-830C-0EE45DA677DA}" srcId="{9D81D4C8-6649-44AE-9D7B-4E3CB2331B83}" destId="{856A63EC-6DDC-4E94-B208-9310C816EBFA}" srcOrd="2" destOrd="0" parTransId="{DFD5EF9A-7F14-4BE7-A824-71699B139BE1}" sibTransId="{FFD1F007-4F90-4FF4-A5E0-F1D9C011948C}"/>
    <dgm:cxn modelId="{085CEFD3-0433-4D3B-9E12-18298383186B}" srcId="{9D81D4C8-6649-44AE-9D7B-4E3CB2331B83}" destId="{F0023441-1AF0-4F13-999B-76B04BBBA9FC}" srcOrd="6" destOrd="0" parTransId="{BA07957E-C82C-4CD8-A61A-020D88EDF66C}" sibTransId="{D7656D76-4E9B-4902-9077-4BDBCFF19788}"/>
    <dgm:cxn modelId="{006BE2CF-49E9-4AE2-90C5-CDEA624077F5}" srcId="{9D81D4C8-6649-44AE-9D7B-4E3CB2331B83}" destId="{80962DDD-3417-47F5-A940-03AD84AA04FE}" srcOrd="7" destOrd="0" parTransId="{6EB4387B-23BE-4A4F-AE49-9BFC15984D73}" sibTransId="{BBBF9549-B53C-4881-B598-49FA1918DB9F}"/>
    <dgm:cxn modelId="{9AD37F66-1E16-4695-80C2-7E275E4B4221}" type="presOf" srcId="{4B1AA58C-E07E-4A70-9B58-43590754E49B}" destId="{F1B5725A-5AB1-41A3-BE15-F16DDE122A05}" srcOrd="0" destOrd="0" presId="urn:microsoft.com/office/officeart/2005/8/layout/bProcess3"/>
    <dgm:cxn modelId="{A95818A5-EB39-4C9C-93CE-BDDD98921F88}" srcId="{9D81D4C8-6649-44AE-9D7B-4E3CB2331B83}" destId="{190F02D0-4834-4512-B5D7-2DA9469B47D5}" srcOrd="1" destOrd="0" parTransId="{3031ABD7-3C0C-4F1E-8A76-9445F6A2FFE6}" sibTransId="{CF4069F2-1519-42B1-ACCF-813569BEEFBC}"/>
    <dgm:cxn modelId="{C7D570E8-9573-4580-A4ED-2AD71BCF505D}" type="presOf" srcId="{CF4069F2-1519-42B1-ACCF-813569BEEFBC}" destId="{93E1EC96-54F6-4961-AC5A-9E2D1D2817A7}" srcOrd="0" destOrd="0" presId="urn:microsoft.com/office/officeart/2005/8/layout/bProcess3"/>
    <dgm:cxn modelId="{1CEDD4E3-5611-457A-924D-169B2C6CAAFB}" type="presParOf" srcId="{B723B157-74E1-4211-BA0C-3DA641E69E13}" destId="{0D3EB8BB-EC95-4A48-BD2D-52C4D1DAC605}" srcOrd="0" destOrd="0" presId="urn:microsoft.com/office/officeart/2005/8/layout/bProcess3"/>
    <dgm:cxn modelId="{1CADF7A6-597A-4600-A0D2-A97363458D96}" type="presParOf" srcId="{B723B157-74E1-4211-BA0C-3DA641E69E13}" destId="{017D4C5D-C018-41AA-AA85-94CE290DF803}" srcOrd="1" destOrd="0" presId="urn:microsoft.com/office/officeart/2005/8/layout/bProcess3"/>
    <dgm:cxn modelId="{360B1935-202A-4832-905B-1770865774F5}" type="presParOf" srcId="{017D4C5D-C018-41AA-AA85-94CE290DF803}" destId="{B22E3010-DE64-4380-924A-FB12E5BBEB18}" srcOrd="0" destOrd="0" presId="urn:microsoft.com/office/officeart/2005/8/layout/bProcess3"/>
    <dgm:cxn modelId="{EC3DD591-1179-4519-8B45-AF3216CFC66F}" type="presParOf" srcId="{B723B157-74E1-4211-BA0C-3DA641E69E13}" destId="{187EA94A-50E2-473E-9FF7-5F90B7B5209D}" srcOrd="2" destOrd="0" presId="urn:microsoft.com/office/officeart/2005/8/layout/bProcess3"/>
    <dgm:cxn modelId="{9C908F2D-AA9C-4E9D-898C-D9DBC1712970}" type="presParOf" srcId="{B723B157-74E1-4211-BA0C-3DA641E69E13}" destId="{93E1EC96-54F6-4961-AC5A-9E2D1D2817A7}" srcOrd="3" destOrd="0" presId="urn:microsoft.com/office/officeart/2005/8/layout/bProcess3"/>
    <dgm:cxn modelId="{40692772-17BE-4F88-8A96-93AE3A433EF2}" type="presParOf" srcId="{93E1EC96-54F6-4961-AC5A-9E2D1D2817A7}" destId="{8575D5F6-FDE8-4950-A30C-AAD067A93A6A}" srcOrd="0" destOrd="0" presId="urn:microsoft.com/office/officeart/2005/8/layout/bProcess3"/>
    <dgm:cxn modelId="{D2FB73F3-86B3-4D1C-A0F8-1766641ABD9C}" type="presParOf" srcId="{B723B157-74E1-4211-BA0C-3DA641E69E13}" destId="{9A8C452F-A52E-47D5-89CC-5FE170468BAF}" srcOrd="4" destOrd="0" presId="urn:microsoft.com/office/officeart/2005/8/layout/bProcess3"/>
    <dgm:cxn modelId="{20C3921F-1806-4742-8BE3-1BAA19A43112}" type="presParOf" srcId="{B723B157-74E1-4211-BA0C-3DA641E69E13}" destId="{40CD2E23-3716-4AD5-AAB3-B5EAF424D2B7}" srcOrd="5" destOrd="0" presId="urn:microsoft.com/office/officeart/2005/8/layout/bProcess3"/>
    <dgm:cxn modelId="{43D40A90-2F05-4A76-8B23-47CF73DC8C99}" type="presParOf" srcId="{40CD2E23-3716-4AD5-AAB3-B5EAF424D2B7}" destId="{08C8DE30-833E-4F83-8776-D387B2D7E74A}" srcOrd="0" destOrd="0" presId="urn:microsoft.com/office/officeart/2005/8/layout/bProcess3"/>
    <dgm:cxn modelId="{9FC2CCBB-58F3-4531-AF0C-E1AA273510AD}" type="presParOf" srcId="{B723B157-74E1-4211-BA0C-3DA641E69E13}" destId="{F1B5725A-5AB1-41A3-BE15-F16DDE122A05}" srcOrd="6" destOrd="0" presId="urn:microsoft.com/office/officeart/2005/8/layout/bProcess3"/>
    <dgm:cxn modelId="{7DFAB1BA-E97E-431B-A75C-E36AF39B32FB}" type="presParOf" srcId="{B723B157-74E1-4211-BA0C-3DA641E69E13}" destId="{E5B65E08-8F97-418B-BBBD-1BE14E3C39B8}" srcOrd="7" destOrd="0" presId="urn:microsoft.com/office/officeart/2005/8/layout/bProcess3"/>
    <dgm:cxn modelId="{782A112E-2A50-4DCE-983B-DD61B77ED073}" type="presParOf" srcId="{E5B65E08-8F97-418B-BBBD-1BE14E3C39B8}" destId="{960A7C21-D76B-4E7B-9241-2D7151A731A9}" srcOrd="0" destOrd="0" presId="urn:microsoft.com/office/officeart/2005/8/layout/bProcess3"/>
    <dgm:cxn modelId="{A4C2FBED-1F45-41A5-9846-5F14FBB0FDDA}" type="presParOf" srcId="{B723B157-74E1-4211-BA0C-3DA641E69E13}" destId="{31BBC6B6-9472-49D7-88F3-816FCE278D62}" srcOrd="8" destOrd="0" presId="urn:microsoft.com/office/officeart/2005/8/layout/bProcess3"/>
    <dgm:cxn modelId="{FC05A6A2-9D11-4F21-A7C4-6CB511EDDB35}" type="presParOf" srcId="{B723B157-74E1-4211-BA0C-3DA641E69E13}" destId="{1C5F5CFE-AD69-43C3-B1A7-8FE731FBE05D}" srcOrd="9" destOrd="0" presId="urn:microsoft.com/office/officeart/2005/8/layout/bProcess3"/>
    <dgm:cxn modelId="{234D6F5C-1434-44C4-84E3-39E4EAD619AC}" type="presParOf" srcId="{1C5F5CFE-AD69-43C3-B1A7-8FE731FBE05D}" destId="{D2177105-EF81-44B6-9E4B-242F6E43E5A8}" srcOrd="0" destOrd="0" presId="urn:microsoft.com/office/officeart/2005/8/layout/bProcess3"/>
    <dgm:cxn modelId="{B6AA6046-AAF5-4E0E-ADDA-A52F639842D9}" type="presParOf" srcId="{B723B157-74E1-4211-BA0C-3DA641E69E13}" destId="{12CE49E4-BA24-4B01-BEBB-1653CF84733D}" srcOrd="10" destOrd="0" presId="urn:microsoft.com/office/officeart/2005/8/layout/bProcess3"/>
    <dgm:cxn modelId="{BD1CC715-8657-407C-BCE3-3F5CB0E2E5FF}" type="presParOf" srcId="{B723B157-74E1-4211-BA0C-3DA641E69E13}" destId="{21F22CDB-627A-4A5F-919C-2D5279BE560E}" srcOrd="11" destOrd="0" presId="urn:microsoft.com/office/officeart/2005/8/layout/bProcess3"/>
    <dgm:cxn modelId="{CFB1557B-14E3-400F-892D-E903F4F51DCD}" type="presParOf" srcId="{21F22CDB-627A-4A5F-919C-2D5279BE560E}" destId="{D87A0FCC-59A3-4FDD-A901-6DC1D9F7702F}" srcOrd="0" destOrd="0" presId="urn:microsoft.com/office/officeart/2005/8/layout/bProcess3"/>
    <dgm:cxn modelId="{41AF9D1E-229B-48CF-95B5-B13EE5742FB6}" type="presParOf" srcId="{B723B157-74E1-4211-BA0C-3DA641E69E13}" destId="{308CF5BB-2CC9-4A89-8994-7E1482F23158}" srcOrd="12" destOrd="0" presId="urn:microsoft.com/office/officeart/2005/8/layout/bProcess3"/>
    <dgm:cxn modelId="{E67FE397-5C04-4C47-AE89-6D33F665D342}" type="presParOf" srcId="{B723B157-74E1-4211-BA0C-3DA641E69E13}" destId="{353C8922-B81C-47C9-A512-FDBB4B078C94}" srcOrd="13" destOrd="0" presId="urn:microsoft.com/office/officeart/2005/8/layout/bProcess3"/>
    <dgm:cxn modelId="{01E62C28-DE02-40EE-8884-72BD0D809838}" type="presParOf" srcId="{353C8922-B81C-47C9-A512-FDBB4B078C94}" destId="{4661E7FF-C245-40F7-A1E1-F8E35A3A31A5}" srcOrd="0" destOrd="0" presId="urn:microsoft.com/office/officeart/2005/8/layout/bProcess3"/>
    <dgm:cxn modelId="{7644603E-0A23-4DB2-8584-192FD596202E}" type="presParOf" srcId="{B723B157-74E1-4211-BA0C-3DA641E69E13}" destId="{AF5CC2C3-32D4-4830-AD50-8D76100E40D9}" srcOrd="14" destOrd="0" presId="urn:microsoft.com/office/officeart/2005/8/layout/bProcess3"/>
    <dgm:cxn modelId="{BB765197-10B9-448F-8540-9C95D945C746}" type="presParOf" srcId="{B723B157-74E1-4211-BA0C-3DA641E69E13}" destId="{D9E4B7F8-C356-4BFE-9891-81380249FABD}" srcOrd="15" destOrd="0" presId="urn:microsoft.com/office/officeart/2005/8/layout/bProcess3"/>
    <dgm:cxn modelId="{7D387B17-4BE5-4FCE-BD4B-E686B6673C78}" type="presParOf" srcId="{D9E4B7F8-C356-4BFE-9891-81380249FABD}" destId="{99018F5E-5364-4E56-B94F-1AB60BCBDB33}" srcOrd="0" destOrd="0" presId="urn:microsoft.com/office/officeart/2005/8/layout/bProcess3"/>
    <dgm:cxn modelId="{6A6C06F7-8A31-41BC-8A32-E7EC9644C0F2}" type="presParOf" srcId="{B723B157-74E1-4211-BA0C-3DA641E69E13}" destId="{BCA65635-A41B-442D-B311-F727411B5B07}" srcOrd="16" destOrd="0" presId="urn:microsoft.com/office/officeart/2005/8/layout/bProcess3"/>
    <dgm:cxn modelId="{1A51268A-BB41-4FE2-9A5A-DCE9D15962E5}" type="presParOf" srcId="{B723B157-74E1-4211-BA0C-3DA641E69E13}" destId="{9AE784D8-59F4-4A63-8697-0789CA21913E}" srcOrd="17" destOrd="0" presId="urn:microsoft.com/office/officeart/2005/8/layout/bProcess3"/>
    <dgm:cxn modelId="{C02522E9-61AF-4EDE-B385-659ED1C6DBE3}" type="presParOf" srcId="{9AE784D8-59F4-4A63-8697-0789CA21913E}" destId="{9A62C7CD-8719-4ACC-98AE-6F487F60BBDC}" srcOrd="0" destOrd="0" presId="urn:microsoft.com/office/officeart/2005/8/layout/bProcess3"/>
    <dgm:cxn modelId="{E9AB954D-2973-4D60-A318-6B2F2103429C}" type="presParOf" srcId="{B723B157-74E1-4211-BA0C-3DA641E69E13}" destId="{59BDE1F0-5BAE-41A2-A731-9BA200BB9D45}" srcOrd="18" destOrd="0" presId="urn:microsoft.com/office/officeart/2005/8/layout/bProcess3"/>
    <dgm:cxn modelId="{177BD2C0-5465-4631-987A-2B08BCE4B9E7}" type="presParOf" srcId="{B723B157-74E1-4211-BA0C-3DA641E69E13}" destId="{E7D2056E-4E23-4B14-8D4B-CED113900A8A}" srcOrd="19" destOrd="0" presId="urn:microsoft.com/office/officeart/2005/8/layout/bProcess3"/>
    <dgm:cxn modelId="{F3BAB56C-8C6A-4737-858C-1C6327AFCA23}" type="presParOf" srcId="{E7D2056E-4E23-4B14-8D4B-CED113900A8A}" destId="{B056D130-3A70-4434-B1AE-733C99C373FD}" srcOrd="0" destOrd="0" presId="urn:microsoft.com/office/officeart/2005/8/layout/bProcess3"/>
    <dgm:cxn modelId="{7BFD43AA-0FB9-4362-A30C-033365919196}" type="presParOf" srcId="{B723B157-74E1-4211-BA0C-3DA641E69E13}" destId="{D4EDA44C-3E5F-4ADB-940F-A871D4EB71FB}" srcOrd="20" destOrd="0" presId="urn:microsoft.com/office/officeart/2005/8/layout/bProcess3"/>
    <dgm:cxn modelId="{F4211781-1E74-40C3-A666-89260C8CAD48}" type="presParOf" srcId="{B723B157-74E1-4211-BA0C-3DA641E69E13}" destId="{60BBDB1E-E445-4333-8A9C-C517EBED6EC3}" srcOrd="21" destOrd="0" presId="urn:microsoft.com/office/officeart/2005/8/layout/bProcess3"/>
    <dgm:cxn modelId="{1943F726-2275-4413-AB46-DEDA81B5668B}" type="presParOf" srcId="{60BBDB1E-E445-4333-8A9C-C517EBED6EC3}" destId="{6245DFD3-1991-40D6-A4CF-10407A4295F1}" srcOrd="0" destOrd="0" presId="urn:microsoft.com/office/officeart/2005/8/layout/bProcess3"/>
    <dgm:cxn modelId="{AE2B0300-4227-4962-A696-9A36013DAB55}" type="presParOf" srcId="{B723B157-74E1-4211-BA0C-3DA641E69E13}" destId="{28CE58FC-B089-48F6-8798-42911F84F4E4}" srcOrd="22" destOrd="0" presId="urn:microsoft.com/office/officeart/2005/8/layout/bProcess3"/>
    <dgm:cxn modelId="{2651089A-AFAA-45A2-8DEE-6A58F8D7CAF5}" type="presParOf" srcId="{B723B157-74E1-4211-BA0C-3DA641E69E13}" destId="{46DD84CB-C635-4E51-B36C-75D3BB4702B5}" srcOrd="23" destOrd="0" presId="urn:microsoft.com/office/officeart/2005/8/layout/bProcess3"/>
    <dgm:cxn modelId="{3960CB0E-3CE5-4F7B-BE67-620D24370CCB}" type="presParOf" srcId="{46DD84CB-C635-4E51-B36C-75D3BB4702B5}" destId="{0B64BF36-C1B8-4ADD-9411-B9272FCFF6AC}" srcOrd="0" destOrd="0" presId="urn:microsoft.com/office/officeart/2005/8/layout/bProcess3"/>
    <dgm:cxn modelId="{726C0D98-F5D6-4AC5-91DB-7ED40178B9E0}" type="presParOf" srcId="{B723B157-74E1-4211-BA0C-3DA641E69E13}" destId="{BDA09DF9-390B-4D9E-9BF7-1F2491744B6A}" srcOrd="24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7029599-9A1C-4D3C-8321-4C82858811F4}" type="doc">
      <dgm:prSet loTypeId="urn:microsoft.com/office/officeart/2005/8/layout/venn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40443B7-C2B8-4AD4-AD7D-29CFA699C1D6}">
      <dgm:prSet custT="1"/>
      <dgm:spPr/>
      <dgm:t>
        <a:bodyPr/>
        <a:lstStyle/>
        <a:p>
          <a:r>
            <a:rPr lang="pt-BR" sz="1000" dirty="0" smtClean="0">
              <a:latin typeface="Simplon BP Light" pitchFamily="2" charset="0"/>
            </a:rPr>
            <a:t>PREVENÇÃO NA VENDA</a:t>
          </a:r>
          <a:endParaRPr lang="pt-BR" sz="1000" dirty="0">
            <a:latin typeface="Simplon BP Light" pitchFamily="2" charset="0"/>
          </a:endParaRPr>
        </a:p>
      </dgm:t>
    </dgm:pt>
    <dgm:pt modelId="{3F224FFA-EA64-4D5C-B7AF-795926DEE04D}" type="parTrans" cxnId="{B1445397-3B44-4706-9A91-54C4EAA18BA3}">
      <dgm:prSet/>
      <dgm:spPr/>
      <dgm:t>
        <a:bodyPr/>
        <a:lstStyle/>
        <a:p>
          <a:endParaRPr lang="pt-BR" sz="2400"/>
        </a:p>
      </dgm:t>
    </dgm:pt>
    <dgm:pt modelId="{7B6D89A9-D308-4E73-A727-71DE830EA746}" type="sibTrans" cxnId="{B1445397-3B44-4706-9A91-54C4EAA18BA3}">
      <dgm:prSet/>
      <dgm:spPr/>
      <dgm:t>
        <a:bodyPr/>
        <a:lstStyle/>
        <a:p>
          <a:endParaRPr lang="pt-BR" sz="2400"/>
        </a:p>
      </dgm:t>
    </dgm:pt>
    <dgm:pt modelId="{9CDA2A5F-E63F-48B4-9B53-F7BB0F1452E9}">
      <dgm:prSet custT="1"/>
      <dgm:spPr/>
      <dgm:t>
        <a:bodyPr/>
        <a:lstStyle/>
        <a:p>
          <a:r>
            <a:rPr lang="pt-BR" sz="1000" dirty="0" smtClean="0">
              <a:latin typeface="Simplon BP Light" pitchFamily="2" charset="0"/>
            </a:rPr>
            <a:t>BLOQUEIO DE FRAUDE DETECÇÃO</a:t>
          </a:r>
          <a:endParaRPr lang="pt-BR" sz="1000" dirty="0">
            <a:latin typeface="Simplon BP Light" pitchFamily="2" charset="0"/>
          </a:endParaRPr>
        </a:p>
      </dgm:t>
    </dgm:pt>
    <dgm:pt modelId="{7D1DFE39-1340-451C-8C3B-183D60FA26FF}" type="parTrans" cxnId="{7A38E066-602F-4132-9ADE-75031A7B016D}">
      <dgm:prSet/>
      <dgm:spPr/>
      <dgm:t>
        <a:bodyPr/>
        <a:lstStyle/>
        <a:p>
          <a:endParaRPr lang="pt-BR" sz="2400"/>
        </a:p>
      </dgm:t>
    </dgm:pt>
    <dgm:pt modelId="{9775CCCA-9020-43A8-B78D-D5A5C4FF1E84}" type="sibTrans" cxnId="{7A38E066-602F-4132-9ADE-75031A7B016D}">
      <dgm:prSet/>
      <dgm:spPr/>
      <dgm:t>
        <a:bodyPr/>
        <a:lstStyle/>
        <a:p>
          <a:endParaRPr lang="pt-BR" sz="2400"/>
        </a:p>
      </dgm:t>
    </dgm:pt>
    <dgm:pt modelId="{D98F4959-8898-4BC5-A7BF-778BA44A7ABC}">
      <dgm:prSet custT="1"/>
      <dgm:spPr/>
      <dgm:t>
        <a:bodyPr/>
        <a:lstStyle/>
        <a:p>
          <a:r>
            <a:rPr lang="pt-BR" sz="1000" dirty="0" smtClean="0">
              <a:latin typeface="Simplon BP Light" pitchFamily="2" charset="0"/>
            </a:rPr>
            <a:t>BLOQUEIO FRAUDE TRÁFEGO</a:t>
          </a:r>
          <a:endParaRPr lang="pt-BR" sz="1000" dirty="0">
            <a:latin typeface="Simplon BP Light" pitchFamily="2" charset="0"/>
          </a:endParaRPr>
        </a:p>
      </dgm:t>
    </dgm:pt>
    <dgm:pt modelId="{6A342E53-F76A-48A4-8563-7555D0581D24}" type="parTrans" cxnId="{A6A34AFE-A3BB-4207-B94A-2B937EF633C4}">
      <dgm:prSet/>
      <dgm:spPr/>
      <dgm:t>
        <a:bodyPr/>
        <a:lstStyle/>
        <a:p>
          <a:endParaRPr lang="pt-BR" sz="2400"/>
        </a:p>
      </dgm:t>
    </dgm:pt>
    <dgm:pt modelId="{D70B7D4D-FDC0-465B-A607-C1563D72CA4E}" type="sibTrans" cxnId="{A6A34AFE-A3BB-4207-B94A-2B937EF633C4}">
      <dgm:prSet/>
      <dgm:spPr/>
      <dgm:t>
        <a:bodyPr/>
        <a:lstStyle/>
        <a:p>
          <a:endParaRPr lang="pt-BR" sz="2400"/>
        </a:p>
      </dgm:t>
    </dgm:pt>
    <dgm:pt modelId="{892B16EA-8FE3-4D8F-93CE-2DB2C66AE844}">
      <dgm:prSet custT="1"/>
      <dgm:spPr/>
      <dgm:t>
        <a:bodyPr/>
        <a:lstStyle/>
        <a:p>
          <a:r>
            <a:rPr lang="pt-BR" sz="1000" dirty="0" smtClean="0">
              <a:latin typeface="Simplon BP Light" pitchFamily="2" charset="0"/>
            </a:rPr>
            <a:t>ANALITICO AVANÇADO</a:t>
          </a:r>
          <a:endParaRPr lang="pt-BR" sz="1000" dirty="0">
            <a:latin typeface="Simplon BP Light" pitchFamily="2" charset="0"/>
          </a:endParaRPr>
        </a:p>
      </dgm:t>
    </dgm:pt>
    <dgm:pt modelId="{9B96BADE-FF79-4DA4-9CE7-D9D017232672}" type="parTrans" cxnId="{AF4FB4EF-53DC-433D-9D32-F3B7BC3483BB}">
      <dgm:prSet/>
      <dgm:spPr/>
      <dgm:t>
        <a:bodyPr/>
        <a:lstStyle/>
        <a:p>
          <a:endParaRPr lang="pt-BR" sz="2400"/>
        </a:p>
      </dgm:t>
    </dgm:pt>
    <dgm:pt modelId="{39684236-2682-4BD3-BBE5-08F5E374A65B}" type="sibTrans" cxnId="{AF4FB4EF-53DC-433D-9D32-F3B7BC3483BB}">
      <dgm:prSet/>
      <dgm:spPr/>
      <dgm:t>
        <a:bodyPr/>
        <a:lstStyle/>
        <a:p>
          <a:endParaRPr lang="pt-BR" sz="2400"/>
        </a:p>
      </dgm:t>
    </dgm:pt>
    <dgm:pt modelId="{500154B0-7C04-4646-AC08-08A11AF92456}">
      <dgm:prSet custT="1"/>
      <dgm:spPr/>
      <dgm:t>
        <a:bodyPr/>
        <a:lstStyle/>
        <a:p>
          <a:r>
            <a:rPr lang="pt-BR" sz="1000" dirty="0" smtClean="0">
              <a:latin typeface="Simplon BP Light" pitchFamily="2" charset="0"/>
            </a:rPr>
            <a:t>TELAS GANHO DE PRODUTIVIDADE NAS PAS</a:t>
          </a:r>
          <a:endParaRPr lang="pt-BR" sz="1000" dirty="0">
            <a:latin typeface="Simplon BP Light" pitchFamily="2" charset="0"/>
          </a:endParaRPr>
        </a:p>
      </dgm:t>
    </dgm:pt>
    <dgm:pt modelId="{912ECA1A-AF44-48D2-B1B0-37CB4C373B50}" type="parTrans" cxnId="{8F99D559-BB05-424B-9E1F-11CA19D268DF}">
      <dgm:prSet/>
      <dgm:spPr/>
      <dgm:t>
        <a:bodyPr/>
        <a:lstStyle/>
        <a:p>
          <a:endParaRPr lang="pt-BR" sz="2400"/>
        </a:p>
      </dgm:t>
    </dgm:pt>
    <dgm:pt modelId="{7DD006FB-AB45-4C7A-BDE2-CCB652E85F5D}" type="sibTrans" cxnId="{8F99D559-BB05-424B-9E1F-11CA19D268DF}">
      <dgm:prSet/>
      <dgm:spPr/>
      <dgm:t>
        <a:bodyPr/>
        <a:lstStyle/>
        <a:p>
          <a:endParaRPr lang="pt-BR" sz="2400"/>
        </a:p>
      </dgm:t>
    </dgm:pt>
    <dgm:pt modelId="{4C49771A-72D0-4D38-B6CB-7BDB9D73BEF3}" type="pres">
      <dgm:prSet presAssocID="{77029599-9A1C-4D3C-8321-4C82858811F4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9826B9E-7AAE-4BBA-AE1A-FB6C75B577B2}" type="pres">
      <dgm:prSet presAssocID="{740443B7-C2B8-4AD4-AD7D-29CFA699C1D6}" presName="Name5" presStyleLbl="vennNode1" presStyleIdx="0" presStyleCnt="5" custScaleX="131771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F9F3B99-C677-47E9-8354-BC7B3D8EFB3F}" type="pres">
      <dgm:prSet presAssocID="{7B6D89A9-D308-4E73-A727-71DE830EA746}" presName="space" presStyleCnt="0"/>
      <dgm:spPr/>
    </dgm:pt>
    <dgm:pt modelId="{5BDF2128-F7E9-4F33-9646-A3BCBEFD25DE}" type="pres">
      <dgm:prSet presAssocID="{9CDA2A5F-E63F-48B4-9B53-F7BB0F1452E9}" presName="Name5" presStyleLbl="vennNode1" presStyleIdx="1" presStyleCnt="5" custScaleX="13286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33549EB-7E30-4E05-AC4A-C114C5A915D3}" type="pres">
      <dgm:prSet presAssocID="{9775CCCA-9020-43A8-B78D-D5A5C4FF1E84}" presName="space" presStyleCnt="0"/>
      <dgm:spPr/>
    </dgm:pt>
    <dgm:pt modelId="{04B79B51-1679-45B9-B2A3-37AA4249EC9C}" type="pres">
      <dgm:prSet presAssocID="{D98F4959-8898-4BC5-A7BF-778BA44A7ABC}" presName="Name5" presStyleLbl="vennNode1" presStyleIdx="2" presStyleCnt="5" custScaleX="13131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4AFA286-AA67-4201-9C0E-72EEC5083C58}" type="pres">
      <dgm:prSet presAssocID="{D70B7D4D-FDC0-465B-A607-C1563D72CA4E}" presName="space" presStyleCnt="0"/>
      <dgm:spPr/>
    </dgm:pt>
    <dgm:pt modelId="{A85A1422-35EC-4FA2-A0A2-3DE774997F2F}" type="pres">
      <dgm:prSet presAssocID="{892B16EA-8FE3-4D8F-93CE-2DB2C66AE844}" presName="Name5" presStyleLbl="vennNode1" presStyleIdx="3" presStyleCnt="5" custScaleX="12482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DF94948-D775-4682-A5B3-209422B03A8C}" type="pres">
      <dgm:prSet presAssocID="{39684236-2682-4BD3-BBE5-08F5E374A65B}" presName="space" presStyleCnt="0"/>
      <dgm:spPr/>
    </dgm:pt>
    <dgm:pt modelId="{4E334931-2DFC-4D45-ADE8-4158564EF12B}" type="pres">
      <dgm:prSet presAssocID="{500154B0-7C04-4646-AC08-08A11AF92456}" presName="Name5" presStyleLbl="vennNode1" presStyleIdx="4" presStyleCnt="5" custScaleX="143268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B1445397-3B44-4706-9A91-54C4EAA18BA3}" srcId="{77029599-9A1C-4D3C-8321-4C82858811F4}" destId="{740443B7-C2B8-4AD4-AD7D-29CFA699C1D6}" srcOrd="0" destOrd="0" parTransId="{3F224FFA-EA64-4D5C-B7AF-795926DEE04D}" sibTransId="{7B6D89A9-D308-4E73-A727-71DE830EA746}"/>
    <dgm:cxn modelId="{16ADF035-047A-4C24-A3AB-EC2FAECDDC05}" type="presOf" srcId="{500154B0-7C04-4646-AC08-08A11AF92456}" destId="{4E334931-2DFC-4D45-ADE8-4158564EF12B}" srcOrd="0" destOrd="0" presId="urn:microsoft.com/office/officeart/2005/8/layout/venn3"/>
    <dgm:cxn modelId="{2FC7E7BD-DDE3-4A0C-87E1-038173D43E16}" type="presOf" srcId="{D98F4959-8898-4BC5-A7BF-778BA44A7ABC}" destId="{04B79B51-1679-45B9-B2A3-37AA4249EC9C}" srcOrd="0" destOrd="0" presId="urn:microsoft.com/office/officeart/2005/8/layout/venn3"/>
    <dgm:cxn modelId="{7A38E066-602F-4132-9ADE-75031A7B016D}" srcId="{77029599-9A1C-4D3C-8321-4C82858811F4}" destId="{9CDA2A5F-E63F-48B4-9B53-F7BB0F1452E9}" srcOrd="1" destOrd="0" parTransId="{7D1DFE39-1340-451C-8C3B-183D60FA26FF}" sibTransId="{9775CCCA-9020-43A8-B78D-D5A5C4FF1E84}"/>
    <dgm:cxn modelId="{70C14671-D2B2-4E11-83D0-8D554AE6EA47}" type="presOf" srcId="{740443B7-C2B8-4AD4-AD7D-29CFA699C1D6}" destId="{B9826B9E-7AAE-4BBA-AE1A-FB6C75B577B2}" srcOrd="0" destOrd="0" presId="urn:microsoft.com/office/officeart/2005/8/layout/venn3"/>
    <dgm:cxn modelId="{86C04BB7-81B0-425C-8B00-E36D74305D94}" type="presOf" srcId="{9CDA2A5F-E63F-48B4-9B53-F7BB0F1452E9}" destId="{5BDF2128-F7E9-4F33-9646-A3BCBEFD25DE}" srcOrd="0" destOrd="0" presId="urn:microsoft.com/office/officeart/2005/8/layout/venn3"/>
    <dgm:cxn modelId="{A6A34AFE-A3BB-4207-B94A-2B937EF633C4}" srcId="{77029599-9A1C-4D3C-8321-4C82858811F4}" destId="{D98F4959-8898-4BC5-A7BF-778BA44A7ABC}" srcOrd="2" destOrd="0" parTransId="{6A342E53-F76A-48A4-8563-7555D0581D24}" sibTransId="{D70B7D4D-FDC0-465B-A607-C1563D72CA4E}"/>
    <dgm:cxn modelId="{890B9BE9-0067-49A5-A65F-C68DD8F4E4A9}" type="presOf" srcId="{892B16EA-8FE3-4D8F-93CE-2DB2C66AE844}" destId="{A85A1422-35EC-4FA2-A0A2-3DE774997F2F}" srcOrd="0" destOrd="0" presId="urn:microsoft.com/office/officeart/2005/8/layout/venn3"/>
    <dgm:cxn modelId="{8F99D559-BB05-424B-9E1F-11CA19D268DF}" srcId="{77029599-9A1C-4D3C-8321-4C82858811F4}" destId="{500154B0-7C04-4646-AC08-08A11AF92456}" srcOrd="4" destOrd="0" parTransId="{912ECA1A-AF44-48D2-B1B0-37CB4C373B50}" sibTransId="{7DD006FB-AB45-4C7A-BDE2-CCB652E85F5D}"/>
    <dgm:cxn modelId="{E94BBF09-410A-4822-8551-EF167C7D122A}" type="presOf" srcId="{77029599-9A1C-4D3C-8321-4C82858811F4}" destId="{4C49771A-72D0-4D38-B6CB-7BDB9D73BEF3}" srcOrd="0" destOrd="0" presId="urn:microsoft.com/office/officeart/2005/8/layout/venn3"/>
    <dgm:cxn modelId="{AF4FB4EF-53DC-433D-9D32-F3B7BC3483BB}" srcId="{77029599-9A1C-4D3C-8321-4C82858811F4}" destId="{892B16EA-8FE3-4D8F-93CE-2DB2C66AE844}" srcOrd="3" destOrd="0" parTransId="{9B96BADE-FF79-4DA4-9CE7-D9D017232672}" sibTransId="{39684236-2682-4BD3-BBE5-08F5E374A65B}"/>
    <dgm:cxn modelId="{6E0AAA69-4DDB-4B87-ABD5-980CA60FA21A}" type="presParOf" srcId="{4C49771A-72D0-4D38-B6CB-7BDB9D73BEF3}" destId="{B9826B9E-7AAE-4BBA-AE1A-FB6C75B577B2}" srcOrd="0" destOrd="0" presId="urn:microsoft.com/office/officeart/2005/8/layout/venn3"/>
    <dgm:cxn modelId="{163041C0-8FCD-4DD0-A64E-5E80BF435AD8}" type="presParOf" srcId="{4C49771A-72D0-4D38-B6CB-7BDB9D73BEF3}" destId="{6F9F3B99-C677-47E9-8354-BC7B3D8EFB3F}" srcOrd="1" destOrd="0" presId="urn:microsoft.com/office/officeart/2005/8/layout/venn3"/>
    <dgm:cxn modelId="{A175F61E-EF97-45E2-A66A-EDF844DCFEC3}" type="presParOf" srcId="{4C49771A-72D0-4D38-B6CB-7BDB9D73BEF3}" destId="{5BDF2128-F7E9-4F33-9646-A3BCBEFD25DE}" srcOrd="2" destOrd="0" presId="urn:microsoft.com/office/officeart/2005/8/layout/venn3"/>
    <dgm:cxn modelId="{88D7CD6A-618E-4B12-9DD7-2730CB51D188}" type="presParOf" srcId="{4C49771A-72D0-4D38-B6CB-7BDB9D73BEF3}" destId="{433549EB-7E30-4E05-AC4A-C114C5A915D3}" srcOrd="3" destOrd="0" presId="urn:microsoft.com/office/officeart/2005/8/layout/venn3"/>
    <dgm:cxn modelId="{427A589B-61BA-4E01-A16E-320512CD762C}" type="presParOf" srcId="{4C49771A-72D0-4D38-B6CB-7BDB9D73BEF3}" destId="{04B79B51-1679-45B9-B2A3-37AA4249EC9C}" srcOrd="4" destOrd="0" presId="urn:microsoft.com/office/officeart/2005/8/layout/venn3"/>
    <dgm:cxn modelId="{B5CC5F57-D56C-47E7-AAB4-3F9DC79D33FC}" type="presParOf" srcId="{4C49771A-72D0-4D38-B6CB-7BDB9D73BEF3}" destId="{F4AFA286-AA67-4201-9C0E-72EEC5083C58}" srcOrd="5" destOrd="0" presId="urn:microsoft.com/office/officeart/2005/8/layout/venn3"/>
    <dgm:cxn modelId="{D3B5FE5D-2ABD-491C-9C2E-FAD1D39C47AD}" type="presParOf" srcId="{4C49771A-72D0-4D38-B6CB-7BDB9D73BEF3}" destId="{A85A1422-35EC-4FA2-A0A2-3DE774997F2F}" srcOrd="6" destOrd="0" presId="urn:microsoft.com/office/officeart/2005/8/layout/venn3"/>
    <dgm:cxn modelId="{D9ABAFC2-FE3F-40B9-958A-06831324819F}" type="presParOf" srcId="{4C49771A-72D0-4D38-B6CB-7BDB9D73BEF3}" destId="{6DF94948-D775-4682-A5B3-209422B03A8C}" srcOrd="7" destOrd="0" presId="urn:microsoft.com/office/officeart/2005/8/layout/venn3"/>
    <dgm:cxn modelId="{02D76C6F-5351-48FA-ACCE-FEECBB67AE38}" type="presParOf" srcId="{4C49771A-72D0-4D38-B6CB-7BDB9D73BEF3}" destId="{4E334931-2DFC-4D45-ADE8-4158564EF12B}" srcOrd="8" destOrd="0" presId="urn:microsoft.com/office/officeart/2005/8/layout/ven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71B322-3BEE-4A39-A74E-0743729EF641}">
      <dsp:nvSpPr>
        <dsp:cNvPr id="0" name=""/>
        <dsp:cNvSpPr/>
      </dsp:nvSpPr>
      <dsp:spPr>
        <a:xfrm>
          <a:off x="574379" y="250306"/>
          <a:ext cx="1731560" cy="1731560"/>
        </a:xfrm>
        <a:prstGeom prst="blockArc">
          <a:avLst>
            <a:gd name="adj1" fmla="val 12600000"/>
            <a:gd name="adj2" fmla="val 16200000"/>
            <a:gd name="adj3" fmla="val 4478"/>
          </a:avLst>
        </a:prstGeom>
        <a:solidFill>
          <a:schemeClr val="accent5">
            <a:shade val="90000"/>
            <a:hueOff val="-341088"/>
            <a:satOff val="-46833"/>
            <a:lumOff val="4324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9B882E-7BAE-40E6-81B0-3918E9F61082}">
      <dsp:nvSpPr>
        <dsp:cNvPr id="0" name=""/>
        <dsp:cNvSpPr/>
      </dsp:nvSpPr>
      <dsp:spPr>
        <a:xfrm>
          <a:off x="574379" y="250306"/>
          <a:ext cx="1731560" cy="1731560"/>
        </a:xfrm>
        <a:prstGeom prst="blockArc">
          <a:avLst>
            <a:gd name="adj1" fmla="val 9000000"/>
            <a:gd name="adj2" fmla="val 12600000"/>
            <a:gd name="adj3" fmla="val 4478"/>
          </a:avLst>
        </a:prstGeom>
        <a:solidFill>
          <a:schemeClr val="accent5">
            <a:shade val="90000"/>
            <a:hueOff val="-272870"/>
            <a:satOff val="-37466"/>
            <a:lumOff val="3459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8964B4-47FD-4BCD-9DAE-27ED367659A6}">
      <dsp:nvSpPr>
        <dsp:cNvPr id="0" name=""/>
        <dsp:cNvSpPr/>
      </dsp:nvSpPr>
      <dsp:spPr>
        <a:xfrm>
          <a:off x="574379" y="250306"/>
          <a:ext cx="1731560" cy="1731560"/>
        </a:xfrm>
        <a:prstGeom prst="blockArc">
          <a:avLst>
            <a:gd name="adj1" fmla="val 5400000"/>
            <a:gd name="adj2" fmla="val 9000000"/>
            <a:gd name="adj3" fmla="val 4478"/>
          </a:avLst>
        </a:prstGeom>
        <a:solidFill>
          <a:schemeClr val="accent5">
            <a:shade val="90000"/>
            <a:hueOff val="-204653"/>
            <a:satOff val="-28100"/>
            <a:lumOff val="2594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56C06-BCDF-4AF7-99D0-0999AEFFC186}">
      <dsp:nvSpPr>
        <dsp:cNvPr id="0" name=""/>
        <dsp:cNvSpPr/>
      </dsp:nvSpPr>
      <dsp:spPr>
        <a:xfrm>
          <a:off x="574379" y="250306"/>
          <a:ext cx="1731560" cy="1731560"/>
        </a:xfrm>
        <a:prstGeom prst="blockArc">
          <a:avLst>
            <a:gd name="adj1" fmla="val 1800000"/>
            <a:gd name="adj2" fmla="val 5400000"/>
            <a:gd name="adj3" fmla="val 4478"/>
          </a:avLst>
        </a:prstGeom>
        <a:solidFill>
          <a:schemeClr val="accent5">
            <a:shade val="90000"/>
            <a:hueOff val="-136435"/>
            <a:satOff val="-18733"/>
            <a:lumOff val="1729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851C51-11B9-431E-9DFB-635E13DF604D}">
      <dsp:nvSpPr>
        <dsp:cNvPr id="0" name=""/>
        <dsp:cNvSpPr/>
      </dsp:nvSpPr>
      <dsp:spPr>
        <a:xfrm>
          <a:off x="574379" y="250306"/>
          <a:ext cx="1731560" cy="1731560"/>
        </a:xfrm>
        <a:prstGeom prst="blockArc">
          <a:avLst>
            <a:gd name="adj1" fmla="val 19800000"/>
            <a:gd name="adj2" fmla="val 1800000"/>
            <a:gd name="adj3" fmla="val 4478"/>
          </a:avLst>
        </a:prstGeom>
        <a:solidFill>
          <a:schemeClr val="accent5">
            <a:shade val="90000"/>
            <a:hueOff val="-68218"/>
            <a:satOff val="-9367"/>
            <a:lumOff val="864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024BFF-B69F-4885-A06C-A990A1EC162F}">
      <dsp:nvSpPr>
        <dsp:cNvPr id="0" name=""/>
        <dsp:cNvSpPr/>
      </dsp:nvSpPr>
      <dsp:spPr>
        <a:xfrm>
          <a:off x="574379" y="250306"/>
          <a:ext cx="1731560" cy="1731560"/>
        </a:xfrm>
        <a:prstGeom prst="blockArc">
          <a:avLst>
            <a:gd name="adj1" fmla="val 16200000"/>
            <a:gd name="adj2" fmla="val 19800000"/>
            <a:gd name="adj3" fmla="val 4478"/>
          </a:avLst>
        </a:prstGeom>
        <a:solidFill>
          <a:schemeClr val="accent5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69BA255-6875-4FC9-AC82-56BD39CABFE7}">
      <dsp:nvSpPr>
        <dsp:cNvPr id="0" name=""/>
        <dsp:cNvSpPr/>
      </dsp:nvSpPr>
      <dsp:spPr>
        <a:xfrm>
          <a:off x="1055507" y="731434"/>
          <a:ext cx="769304" cy="769304"/>
        </a:xfrm>
        <a:prstGeom prst="ellipse">
          <a:avLst/>
        </a:prstGeom>
        <a:solidFill>
          <a:schemeClr val="accent5">
            <a:alpha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FMS</a:t>
          </a:r>
          <a:endParaRPr lang="pt-BR" sz="1800" kern="1200" dirty="0">
            <a:latin typeface="Simplon BP Regular" pitchFamily="2" charset="0"/>
          </a:endParaRPr>
        </a:p>
      </dsp:txBody>
      <dsp:txXfrm>
        <a:off x="1168169" y="844096"/>
        <a:ext cx="543980" cy="543980"/>
      </dsp:txXfrm>
    </dsp:sp>
    <dsp:sp modelId="{2B4CAB2E-1A0B-4830-9298-A4369C6FF292}">
      <dsp:nvSpPr>
        <dsp:cNvPr id="0" name=""/>
        <dsp:cNvSpPr/>
      </dsp:nvSpPr>
      <dsp:spPr>
        <a:xfrm>
          <a:off x="1170903" y="436"/>
          <a:ext cx="538512" cy="538512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500" kern="1200" dirty="0" smtClean="0">
              <a:latin typeface="Simplon BP Regular" pitchFamily="2" charset="0"/>
            </a:rPr>
            <a:t>DIGITAL</a:t>
          </a:r>
          <a:endParaRPr lang="pt-BR" sz="500" kern="1200" dirty="0">
            <a:latin typeface="Simplon BP Regular" pitchFamily="2" charset="0"/>
          </a:endParaRPr>
        </a:p>
      </dsp:txBody>
      <dsp:txXfrm>
        <a:off x="1249766" y="79299"/>
        <a:ext cx="380786" cy="380786"/>
      </dsp:txXfrm>
    </dsp:sp>
    <dsp:sp modelId="{8D551815-3B6C-4805-8952-F91BF108D8F5}">
      <dsp:nvSpPr>
        <dsp:cNvPr id="0" name=""/>
        <dsp:cNvSpPr/>
      </dsp:nvSpPr>
      <dsp:spPr>
        <a:xfrm>
          <a:off x="1903902" y="423633"/>
          <a:ext cx="538512" cy="538512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8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500" kern="1200" dirty="0" smtClean="0">
              <a:latin typeface="Simplon BP Regular" pitchFamily="2" charset="0"/>
            </a:rPr>
            <a:t>VENDAS</a:t>
          </a:r>
          <a:endParaRPr lang="pt-BR" sz="500" kern="1200" dirty="0">
            <a:latin typeface="Simplon BP Regular" pitchFamily="2" charset="0"/>
          </a:endParaRPr>
        </a:p>
      </dsp:txBody>
      <dsp:txXfrm>
        <a:off x="1982765" y="502496"/>
        <a:ext cx="380786" cy="380786"/>
      </dsp:txXfrm>
    </dsp:sp>
    <dsp:sp modelId="{E96ED2BC-7F66-49BF-87BF-4063B76ECCE1}">
      <dsp:nvSpPr>
        <dsp:cNvPr id="0" name=""/>
        <dsp:cNvSpPr/>
      </dsp:nvSpPr>
      <dsp:spPr>
        <a:xfrm>
          <a:off x="1903902" y="1270026"/>
          <a:ext cx="538512" cy="538512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16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500" kern="1200" dirty="0" smtClean="0">
              <a:latin typeface="Simplon BP Regular" pitchFamily="2" charset="0"/>
            </a:rPr>
            <a:t>ATIVAÇÂO</a:t>
          </a:r>
          <a:endParaRPr lang="pt-BR" sz="500" kern="1200" dirty="0">
            <a:latin typeface="Simplon BP Regular" pitchFamily="2" charset="0"/>
          </a:endParaRPr>
        </a:p>
      </dsp:txBody>
      <dsp:txXfrm>
        <a:off x="1982765" y="1348889"/>
        <a:ext cx="380786" cy="380786"/>
      </dsp:txXfrm>
    </dsp:sp>
    <dsp:sp modelId="{B97EF70B-6154-410F-985C-9C1FE38BB469}">
      <dsp:nvSpPr>
        <dsp:cNvPr id="0" name=""/>
        <dsp:cNvSpPr/>
      </dsp:nvSpPr>
      <dsp:spPr>
        <a:xfrm>
          <a:off x="1170903" y="1693223"/>
          <a:ext cx="538512" cy="538512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24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500" kern="1200" dirty="0" smtClean="0">
              <a:latin typeface="Simplon BP Regular" pitchFamily="2" charset="0"/>
            </a:rPr>
            <a:t>CRÉDITO</a:t>
          </a:r>
          <a:endParaRPr lang="pt-BR" sz="500" kern="1200" dirty="0">
            <a:latin typeface="Simplon BP Regular" pitchFamily="2" charset="0"/>
          </a:endParaRPr>
        </a:p>
      </dsp:txBody>
      <dsp:txXfrm>
        <a:off x="1249766" y="1772086"/>
        <a:ext cx="380786" cy="380786"/>
      </dsp:txXfrm>
    </dsp:sp>
    <dsp:sp modelId="{FAEA06C7-9021-4548-862C-93C9F1ADC6E4}">
      <dsp:nvSpPr>
        <dsp:cNvPr id="0" name=""/>
        <dsp:cNvSpPr/>
      </dsp:nvSpPr>
      <dsp:spPr>
        <a:xfrm>
          <a:off x="437905" y="1270026"/>
          <a:ext cx="538512" cy="538512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32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500" kern="1200" dirty="0" smtClean="0">
              <a:latin typeface="Simplon BP Regular" pitchFamily="2" charset="0"/>
            </a:rPr>
            <a:t>SEGINF</a:t>
          </a:r>
          <a:endParaRPr lang="pt-BR" sz="500" kern="1200" dirty="0">
            <a:latin typeface="Simplon BP Regular" pitchFamily="2" charset="0"/>
          </a:endParaRPr>
        </a:p>
      </dsp:txBody>
      <dsp:txXfrm>
        <a:off x="516768" y="1348889"/>
        <a:ext cx="380786" cy="380786"/>
      </dsp:txXfrm>
    </dsp:sp>
    <dsp:sp modelId="{20365B38-D7BF-4500-88FE-AF174FA7A1EE}">
      <dsp:nvSpPr>
        <dsp:cNvPr id="0" name=""/>
        <dsp:cNvSpPr/>
      </dsp:nvSpPr>
      <dsp:spPr>
        <a:xfrm>
          <a:off x="437905" y="423633"/>
          <a:ext cx="538512" cy="538512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500" kern="1200" dirty="0" smtClean="0">
              <a:latin typeface="Simplon BP Regular" pitchFamily="2" charset="0"/>
            </a:rPr>
            <a:t>JEC</a:t>
          </a:r>
          <a:endParaRPr lang="pt-BR" sz="500" kern="1200" dirty="0">
            <a:latin typeface="Simplon BP Regular" pitchFamily="2" charset="0"/>
          </a:endParaRPr>
        </a:p>
      </dsp:txBody>
      <dsp:txXfrm>
        <a:off x="516768" y="502496"/>
        <a:ext cx="380786" cy="38078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AF27D3-AB43-4EB0-9500-122A1344E88E}">
      <dsp:nvSpPr>
        <dsp:cNvPr id="0" name=""/>
        <dsp:cNvSpPr/>
      </dsp:nvSpPr>
      <dsp:spPr>
        <a:xfrm>
          <a:off x="0" y="1152124"/>
          <a:ext cx="8800829" cy="1368719"/>
        </a:xfrm>
        <a:prstGeom prst="notched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9E265E-1972-4BA5-B612-18396B665CC9}">
      <dsp:nvSpPr>
        <dsp:cNvPr id="0" name=""/>
        <dsp:cNvSpPr/>
      </dsp:nvSpPr>
      <dsp:spPr>
        <a:xfrm>
          <a:off x="44066" y="2520284"/>
          <a:ext cx="1813457" cy="13621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b" anchorCtr="1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b="1" kern="1200" dirty="0" smtClean="0">
              <a:latin typeface="Simplon BP Regular" pitchFamily="2" charset="0"/>
            </a:rPr>
            <a:t>Motor Regras</a:t>
          </a:r>
          <a:endParaRPr lang="pt-BR" sz="1000" b="1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kern="1200" dirty="0" smtClean="0">
              <a:latin typeface="Simplon BP Regular" pitchFamily="2" charset="0"/>
            </a:rPr>
            <a:t>Criação Regras Prevenção: Teste TV off-line</a:t>
          </a:r>
          <a:endParaRPr lang="pt-BR" sz="900" b="0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u="none" kern="1200" dirty="0" smtClean="0">
              <a:latin typeface="Simplon BP Regular" pitchFamily="2" charset="0"/>
            </a:rPr>
            <a:t>Regras mais complexas e efetivas </a:t>
          </a:r>
          <a:r>
            <a:rPr lang="pt-BR" sz="900" b="0" kern="1200" dirty="0" smtClean="0">
              <a:latin typeface="Simplon BP Regular" pitchFamily="2" charset="0"/>
            </a:rPr>
            <a:t>(</a:t>
          </a:r>
          <a:r>
            <a:rPr lang="pt-BR" sz="900" b="0" kern="1200" dirty="0" err="1" smtClean="0">
              <a:latin typeface="Simplon BP Regular" pitchFamily="2" charset="0"/>
            </a:rPr>
            <a:t>Login</a:t>
          </a:r>
          <a:r>
            <a:rPr lang="pt-BR" sz="900" b="0" kern="1200" dirty="0" smtClean="0">
              <a:latin typeface="Simplon BP Regular" pitchFamily="2" charset="0"/>
            </a:rPr>
            <a:t> vendedor, Endereço, </a:t>
          </a:r>
          <a:r>
            <a:rPr lang="pt-BR" sz="900" b="0" kern="1200" dirty="0" err="1" smtClean="0">
              <a:latin typeface="Simplon BP Regular" pitchFamily="2" charset="0"/>
            </a:rPr>
            <a:t>Basona</a:t>
          </a:r>
          <a:r>
            <a:rPr lang="pt-BR" sz="900" b="0" kern="1200" dirty="0" smtClean="0">
              <a:latin typeface="Simplon BP Regular" pitchFamily="2" charset="0"/>
            </a:rPr>
            <a:t> Serasa, etc)</a:t>
          </a:r>
          <a:endParaRPr lang="pt-BR" sz="900" b="0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kern="1200" dirty="0" err="1" smtClean="0">
              <a:latin typeface="Simplon BP Regular" pitchFamily="2" charset="0"/>
            </a:rPr>
            <a:t>Backtest</a:t>
          </a:r>
          <a:r>
            <a:rPr lang="pt-BR" sz="900" b="0" kern="1200" dirty="0" smtClean="0">
              <a:latin typeface="Simplon BP Regular" pitchFamily="2" charset="0"/>
            </a:rPr>
            <a:t> de aumento de derivação de novas regras</a:t>
          </a:r>
          <a:endParaRPr lang="pt-BR" sz="900" b="0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kern="1200" dirty="0" smtClean="0">
              <a:latin typeface="Simplon BP Regular" pitchFamily="2" charset="0"/>
            </a:rPr>
            <a:t>Automatização analítico p/ aumentar prevenção</a:t>
          </a:r>
          <a:endParaRPr lang="pt-BR" sz="900" b="0" kern="1200" dirty="0">
            <a:latin typeface="Simplon BP Regular" pitchFamily="2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900" kern="1200" dirty="0">
            <a:latin typeface="Simplon BP Regular" pitchFamily="2" charset="0"/>
          </a:endParaRPr>
        </a:p>
      </dsp:txBody>
      <dsp:txXfrm>
        <a:off x="44066" y="2520284"/>
        <a:ext cx="1813457" cy="1362117"/>
      </dsp:txXfrm>
    </dsp:sp>
    <dsp:sp modelId="{01653F72-3EE7-4701-8574-F10FC3BC861B}">
      <dsp:nvSpPr>
        <dsp:cNvPr id="0" name=""/>
        <dsp:cNvSpPr/>
      </dsp:nvSpPr>
      <dsp:spPr>
        <a:xfrm>
          <a:off x="659037" y="1592595"/>
          <a:ext cx="495639" cy="49563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18F256-F8B9-4D2D-BF5F-E9F6C61C004E}">
      <dsp:nvSpPr>
        <dsp:cNvPr id="0" name=""/>
        <dsp:cNvSpPr/>
      </dsp:nvSpPr>
      <dsp:spPr>
        <a:xfrm>
          <a:off x="1905430" y="2160236"/>
          <a:ext cx="2167727" cy="19825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t" anchorCtr="1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50" b="1" kern="1200" dirty="0" smtClean="0">
              <a:latin typeface="Simplon BP Regular" pitchFamily="2" charset="0"/>
            </a:rPr>
            <a:t>Venda On-Line</a:t>
          </a:r>
          <a:endParaRPr lang="pt-BR" sz="1050" b="1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kern="1200" dirty="0" smtClean="0">
              <a:latin typeface="Simplon BP Regular" pitchFamily="2" charset="0"/>
            </a:rPr>
            <a:t>Migração por Produto e UF para Novo FMS</a:t>
          </a:r>
          <a:endParaRPr lang="pt-BR" sz="900" b="0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u="none" kern="1200" dirty="0" smtClean="0">
              <a:latin typeface="Simplon BP Regular" pitchFamily="2" charset="0"/>
            </a:rPr>
            <a:t>Telas p/ Operação de Crédito</a:t>
          </a:r>
          <a:endParaRPr lang="pt-BR" sz="900" b="0" u="none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u="none" kern="1200" dirty="0" smtClean="0">
              <a:latin typeface="Simplon BP Regular" pitchFamily="2" charset="0"/>
            </a:rPr>
            <a:t>Negativa automática Propostas duplicadas (30%  propostas derivadas)</a:t>
          </a:r>
          <a:endParaRPr lang="pt-BR" sz="900" b="0" u="none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u="none" kern="1200" dirty="0" smtClean="0">
              <a:latin typeface="Simplon BP Regular" pitchFamily="2" charset="0"/>
            </a:rPr>
            <a:t>Validação de toda TV ON-LINE (-3PAs TV)</a:t>
          </a:r>
          <a:endParaRPr lang="pt-BR" sz="900" b="0" u="none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u="none" kern="1200" dirty="0" smtClean="0">
              <a:latin typeface="Simplon BP Regular" pitchFamily="2" charset="0"/>
            </a:rPr>
            <a:t>10-20% Ganho Fim do </a:t>
          </a:r>
          <a:r>
            <a:rPr lang="pt-BR" sz="900" b="0" u="none" kern="1200" dirty="0" err="1" smtClean="0">
              <a:latin typeface="Simplon BP Regular" pitchFamily="2" charset="0"/>
            </a:rPr>
            <a:t>Copy</a:t>
          </a:r>
          <a:r>
            <a:rPr lang="pt-BR" sz="900" b="0" u="none" kern="1200" dirty="0" smtClean="0">
              <a:latin typeface="Simplon BP Regular" pitchFamily="2" charset="0"/>
            </a:rPr>
            <a:t> e Cola Front </a:t>
          </a:r>
          <a:r>
            <a:rPr lang="pt-BR" sz="900" b="0" u="none" kern="1200" dirty="0" err="1" smtClean="0">
              <a:latin typeface="Simplon BP Regular" pitchFamily="2" charset="0"/>
            </a:rPr>
            <a:t>End</a:t>
          </a:r>
          <a:endParaRPr lang="pt-BR" sz="900" b="0" u="none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u="none" kern="1200" dirty="0" smtClean="0">
              <a:solidFill>
                <a:schemeClr val="tx1"/>
              </a:solidFill>
              <a:latin typeface="Simplon BP Regular" pitchFamily="2" charset="0"/>
            </a:rPr>
            <a:t>Aumento de Venda: Garantia de X tentativa de Contato por venda</a:t>
          </a:r>
          <a:endParaRPr lang="pt-BR" sz="900" b="0" u="none" kern="1200" dirty="0">
            <a:solidFill>
              <a:schemeClr val="tx1"/>
            </a:solidFill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kern="1200" dirty="0" err="1" smtClean="0">
              <a:latin typeface="Simplon BP Regular" pitchFamily="2" charset="0"/>
            </a:rPr>
            <a:t>Check</a:t>
          </a:r>
          <a:r>
            <a:rPr lang="pt-BR" sz="900" b="0" kern="1200" dirty="0" smtClean="0">
              <a:latin typeface="Simplon BP Regular" pitchFamily="2" charset="0"/>
            </a:rPr>
            <a:t> </a:t>
          </a:r>
          <a:r>
            <a:rPr lang="pt-BR" sz="900" b="0" kern="1200" dirty="0" err="1" smtClean="0">
              <a:latin typeface="Simplon BP Regular" pitchFamily="2" charset="0"/>
            </a:rPr>
            <a:t>List</a:t>
          </a:r>
          <a:r>
            <a:rPr lang="pt-BR" sz="900" b="0" kern="1200" dirty="0" smtClean="0">
              <a:latin typeface="Simplon BP Regular" pitchFamily="2" charset="0"/>
            </a:rPr>
            <a:t> Perguntas Matadoras por fila</a:t>
          </a:r>
          <a:endParaRPr lang="pt-BR" sz="900" b="0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kern="1200" dirty="0" smtClean="0">
              <a:latin typeface="Simplon BP Regular" pitchFamily="2" charset="0"/>
            </a:rPr>
            <a:t>Controles de produtividade </a:t>
          </a:r>
          <a:r>
            <a:rPr lang="pt-BR" sz="900" b="0" kern="1200" dirty="0" err="1" smtClean="0">
              <a:latin typeface="Simplon BP Regular" pitchFamily="2" charset="0"/>
            </a:rPr>
            <a:t>Pas</a:t>
          </a:r>
          <a:r>
            <a:rPr lang="pt-BR" sz="900" b="0" kern="1200" dirty="0" smtClean="0">
              <a:latin typeface="Simplon BP Regular" pitchFamily="2" charset="0"/>
            </a:rPr>
            <a:t> On-Line</a:t>
          </a:r>
          <a:endParaRPr lang="pt-BR" sz="900" b="0" kern="1200" dirty="0">
            <a:latin typeface="Simplon BP Regular" pitchFamily="2" charset="0"/>
          </a:endParaRPr>
        </a:p>
      </dsp:txBody>
      <dsp:txXfrm>
        <a:off x="1905430" y="2160236"/>
        <a:ext cx="2167727" cy="1982559"/>
      </dsp:txXfrm>
    </dsp:sp>
    <dsp:sp modelId="{68735D89-E47A-492B-9770-825D1327D4FA}">
      <dsp:nvSpPr>
        <dsp:cNvPr id="0" name=""/>
        <dsp:cNvSpPr/>
      </dsp:nvSpPr>
      <dsp:spPr>
        <a:xfrm>
          <a:off x="2720019" y="1592595"/>
          <a:ext cx="495639" cy="495639"/>
        </a:xfrm>
        <a:prstGeom prst="ellipse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  <dsp:sp modelId="{B5362C5E-2645-4305-AD4B-90C17CACB81D}">
      <dsp:nvSpPr>
        <dsp:cNvPr id="0" name=""/>
        <dsp:cNvSpPr/>
      </dsp:nvSpPr>
      <dsp:spPr>
        <a:xfrm>
          <a:off x="4236348" y="2367993"/>
          <a:ext cx="1680491" cy="13764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b" anchorCtr="1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50" b="1" kern="1200" dirty="0" smtClean="0">
              <a:latin typeface="Simplon BP Regular" pitchFamily="2" charset="0"/>
            </a:rPr>
            <a:t>Integração </a:t>
          </a:r>
          <a:r>
            <a:rPr lang="pt-BR" sz="1050" b="1" kern="1200" dirty="0" err="1" smtClean="0">
              <a:latin typeface="Simplon BP Regular" pitchFamily="2" charset="0"/>
            </a:rPr>
            <a:t>CRMs</a:t>
          </a:r>
          <a:endParaRPr lang="pt-BR" sz="1050" b="1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u="none" kern="1200" dirty="0" smtClean="0">
              <a:latin typeface="Simplon BP Regular" pitchFamily="2" charset="0"/>
            </a:rPr>
            <a:t>Priorização de todos </a:t>
          </a:r>
          <a:r>
            <a:rPr lang="pt-BR" sz="900" b="0" u="none" kern="1200" dirty="0" err="1" smtClean="0">
              <a:latin typeface="Simplon BP Regular" pitchFamily="2" charset="0"/>
            </a:rPr>
            <a:t>tel</a:t>
          </a:r>
          <a:r>
            <a:rPr lang="pt-BR" sz="900" b="0" u="none" kern="1200" dirty="0" smtClean="0">
              <a:latin typeface="Simplon BP Regular" pitchFamily="2" charset="0"/>
            </a:rPr>
            <a:t> de contato</a:t>
          </a:r>
          <a:endParaRPr lang="pt-BR" sz="900" b="0" u="none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u="none" kern="1200" dirty="0" smtClean="0">
              <a:latin typeface="Simplon BP Regular" pitchFamily="2" charset="0"/>
            </a:rPr>
            <a:t>Criação de SCORE POSITIVO (endereços e </a:t>
          </a:r>
          <a:r>
            <a:rPr lang="pt-BR" sz="900" b="0" u="none" kern="1200" dirty="0" err="1" smtClean="0">
              <a:latin typeface="Simplon BP Regular" pitchFamily="2" charset="0"/>
            </a:rPr>
            <a:t>tel</a:t>
          </a:r>
          <a:r>
            <a:rPr lang="pt-BR" sz="900" b="0" u="none" kern="1200" dirty="0" smtClean="0">
              <a:latin typeface="Simplon BP Regular" pitchFamily="2" charset="0"/>
            </a:rPr>
            <a:t> contato confiáveis p/ o CPF)</a:t>
          </a:r>
          <a:endParaRPr lang="pt-BR" sz="900" b="0" u="none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kern="1200" dirty="0" smtClean="0">
              <a:latin typeface="Simplon BP Regular" pitchFamily="2" charset="0"/>
            </a:rPr>
            <a:t>Anomalia de </a:t>
          </a:r>
          <a:r>
            <a:rPr lang="pt-BR" sz="900" b="0" kern="1200" dirty="0" err="1" smtClean="0">
              <a:latin typeface="Simplon BP Regular" pitchFamily="2" charset="0"/>
            </a:rPr>
            <a:t>qtde</a:t>
          </a:r>
          <a:r>
            <a:rPr lang="pt-BR" sz="900" b="0" kern="1200" dirty="0" smtClean="0">
              <a:latin typeface="Simplon BP Regular" pitchFamily="2" charset="0"/>
            </a:rPr>
            <a:t> de produtos por Endereço, CPF, telefone de Contato.</a:t>
          </a:r>
          <a:endParaRPr lang="pt-BR" sz="900" b="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1000" kern="1200" dirty="0">
            <a:latin typeface="Simplon BP Regular" pitchFamily="2" charset="0"/>
          </a:endParaRPr>
        </a:p>
      </dsp:txBody>
      <dsp:txXfrm>
        <a:off x="4236348" y="2367993"/>
        <a:ext cx="1680491" cy="1376431"/>
      </dsp:txXfrm>
    </dsp:sp>
    <dsp:sp modelId="{69D03AFA-B98A-4069-9E73-FF5AD3CD515D}">
      <dsp:nvSpPr>
        <dsp:cNvPr id="0" name=""/>
        <dsp:cNvSpPr/>
      </dsp:nvSpPr>
      <dsp:spPr>
        <a:xfrm>
          <a:off x="4775626" y="1592595"/>
          <a:ext cx="495639" cy="495639"/>
        </a:xfrm>
        <a:prstGeom prst="ellipse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  <dsp:sp modelId="{4313BB20-CA86-4CDE-9E99-78A0772F7C62}">
      <dsp:nvSpPr>
        <dsp:cNvPr id="0" name=""/>
        <dsp:cNvSpPr/>
      </dsp:nvSpPr>
      <dsp:spPr>
        <a:xfrm>
          <a:off x="6056310" y="2160241"/>
          <a:ext cx="2047642" cy="14633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t" anchorCtr="1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50" b="1" kern="1200" dirty="0" smtClean="0">
              <a:latin typeface="Simplon BP Regular" pitchFamily="2" charset="0"/>
            </a:rPr>
            <a:t>Novas Integrações</a:t>
          </a:r>
          <a:endParaRPr lang="pt-BR" sz="1050" b="1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u="none" kern="1200" dirty="0" smtClean="0">
              <a:latin typeface="Simplon BP Regular" pitchFamily="2" charset="0"/>
            </a:rPr>
            <a:t>Discador automático na URA (Oportunidade de automatizar bloqueio sem contato 20%  a 50% das derivações)</a:t>
          </a:r>
          <a:endParaRPr lang="pt-BR" sz="900" b="0" u="none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kern="1200" dirty="0" smtClean="0">
              <a:latin typeface="Simplon BP Regular" pitchFamily="2" charset="0"/>
            </a:rPr>
            <a:t>SMS Interativo reduz contato humano</a:t>
          </a:r>
          <a:endParaRPr lang="pt-BR" sz="900" b="0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kern="1200" dirty="0" smtClean="0">
              <a:latin typeface="Simplon BP Regular" pitchFamily="2" charset="0"/>
            </a:rPr>
            <a:t> Informações unificadas do CPF de todos CRMS e inadimplência </a:t>
          </a:r>
          <a:endParaRPr lang="pt-BR" sz="900" b="0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kern="1200" dirty="0" smtClean="0">
              <a:latin typeface="Simplon BP Regular" pitchFamily="2" charset="0"/>
            </a:rPr>
            <a:t>Bureau de Cadastro ABR (integração receita federal, </a:t>
          </a:r>
          <a:r>
            <a:rPr lang="pt-BR" sz="900" b="0" kern="1200" dirty="0" err="1" smtClean="0">
              <a:latin typeface="Simplon BP Regular" pitchFamily="2" charset="0"/>
            </a:rPr>
            <a:t>pre-pago</a:t>
          </a:r>
          <a:r>
            <a:rPr lang="pt-BR" sz="900" b="0" kern="1200" dirty="0" smtClean="0">
              <a:latin typeface="Simplon BP Regular" pitchFamily="2" charset="0"/>
            </a:rPr>
            <a:t> outras operadoras, etc)</a:t>
          </a:r>
          <a:endParaRPr lang="pt-BR" sz="900" b="0" kern="1200" dirty="0">
            <a:latin typeface="Simplon BP Regular" pitchFamily="2" charset="0"/>
          </a:endParaRPr>
        </a:p>
        <a:p>
          <a:pPr marL="57150" lvl="1" indent="-57150" algn="just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900" b="0" kern="1200" dirty="0" smtClean="0">
              <a:latin typeface="Simplon BP Regular" pitchFamily="2" charset="0"/>
            </a:rPr>
            <a:t>Score Externo</a:t>
          </a:r>
          <a:endParaRPr lang="pt-BR" sz="900" b="0" kern="1200" dirty="0">
            <a:latin typeface="Simplon BP Regular" pitchFamily="2" charset="0"/>
          </a:endParaRPr>
        </a:p>
      </dsp:txBody>
      <dsp:txXfrm>
        <a:off x="6056310" y="2160241"/>
        <a:ext cx="2047642" cy="1463307"/>
      </dsp:txXfrm>
    </dsp:sp>
    <dsp:sp modelId="{CB9449AD-62BB-4738-965C-ADDF64C01036}">
      <dsp:nvSpPr>
        <dsp:cNvPr id="0" name=""/>
        <dsp:cNvSpPr/>
      </dsp:nvSpPr>
      <dsp:spPr>
        <a:xfrm>
          <a:off x="6648975" y="1584179"/>
          <a:ext cx="495639" cy="495639"/>
        </a:xfrm>
        <a:prstGeom prst="ellipse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705A68-C9BC-403B-93F4-E7F1CB006A9D}">
      <dsp:nvSpPr>
        <dsp:cNvPr id="0" name=""/>
        <dsp:cNvSpPr/>
      </dsp:nvSpPr>
      <dsp:spPr>
        <a:xfrm>
          <a:off x="4925" y="329371"/>
          <a:ext cx="1386772" cy="401711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Onda 2 :: Motor de regras e TV </a:t>
          </a:r>
          <a:r>
            <a:rPr lang="pt-BR" sz="700" kern="1200" dirty="0" err="1" smtClean="0">
              <a:latin typeface="Simplon BP Regular" pitchFamily="2" charset="0"/>
            </a:rPr>
            <a:t>Offline</a:t>
          </a:r>
          <a:endParaRPr lang="pt-BR" sz="700" kern="1200" dirty="0">
            <a:latin typeface="Simplon BP Regular" pitchFamily="2" charset="0"/>
          </a:endParaRPr>
        </a:p>
      </dsp:txBody>
      <dsp:txXfrm>
        <a:off x="4925" y="329371"/>
        <a:ext cx="1386772" cy="267807"/>
      </dsp:txXfrm>
    </dsp:sp>
    <dsp:sp modelId="{128CEE05-57CC-4C50-B4DA-497A9518C86D}">
      <dsp:nvSpPr>
        <dsp:cNvPr id="0" name=""/>
        <dsp:cNvSpPr/>
      </dsp:nvSpPr>
      <dsp:spPr>
        <a:xfrm>
          <a:off x="286169" y="597178"/>
          <a:ext cx="1392361" cy="35343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784" tIns="49784" rIns="49784" bIns="49784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Carga e normalização  de bases domínio Prevenção a Fraudes (15 bases)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Integração com todas as 15 fontes de dados conhecidas e utilizadas pela prevenção a fraude.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Motor de regras online e anomalias, score e recomendação de vendas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Portal alarmes, gestão de regras e relatórios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solidFill>
                <a:srgbClr val="69D170"/>
              </a:solidFill>
              <a:latin typeface="Simplon BP Regular" pitchFamily="2" charset="0"/>
            </a:rPr>
            <a:t>Modelos estatísticos avançados </a:t>
          </a:r>
          <a:endParaRPr lang="pt-BR" sz="700" kern="1200" dirty="0">
            <a:latin typeface="Simplon BP Regular" pitchFamily="2" charset="0"/>
          </a:endParaRPr>
        </a:p>
      </dsp:txBody>
      <dsp:txXfrm>
        <a:off x="326950" y="637959"/>
        <a:ext cx="1310799" cy="3452738"/>
      </dsp:txXfrm>
    </dsp:sp>
    <dsp:sp modelId="{FAE79DA8-096B-4864-B765-C027EED0FC91}">
      <dsp:nvSpPr>
        <dsp:cNvPr id="0" name=""/>
        <dsp:cNvSpPr/>
      </dsp:nvSpPr>
      <dsp:spPr>
        <a:xfrm>
          <a:off x="1602626" y="290641"/>
          <a:ext cx="447168" cy="345266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600" kern="1200"/>
        </a:p>
      </dsp:txBody>
      <dsp:txXfrm>
        <a:off x="1602626" y="359694"/>
        <a:ext cx="343588" cy="207160"/>
      </dsp:txXfrm>
    </dsp:sp>
    <dsp:sp modelId="{FA2E93AE-2098-49D0-9473-591D8D191E4B}">
      <dsp:nvSpPr>
        <dsp:cNvPr id="0" name=""/>
        <dsp:cNvSpPr/>
      </dsp:nvSpPr>
      <dsp:spPr>
        <a:xfrm>
          <a:off x="2235411" y="329371"/>
          <a:ext cx="1386772" cy="401711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244193"/>
            <a:satOff val="0"/>
            <a:lumOff val="2415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Onda 3 ::Oi Total 2P+Fixa R1 1P+Transact Online</a:t>
          </a:r>
          <a:endParaRPr lang="pt-BR" sz="700" kern="1200" dirty="0">
            <a:latin typeface="Simplon BP Regular" pitchFamily="2" charset="0"/>
          </a:endParaRPr>
        </a:p>
      </dsp:txBody>
      <dsp:txXfrm>
        <a:off x="2235411" y="329371"/>
        <a:ext cx="1386772" cy="267807"/>
      </dsp:txXfrm>
    </dsp:sp>
    <dsp:sp modelId="{51B30C7F-40A0-4F75-AF53-AB05C04F6C8A}">
      <dsp:nvSpPr>
        <dsp:cNvPr id="0" name=""/>
        <dsp:cNvSpPr/>
      </dsp:nvSpPr>
      <dsp:spPr>
        <a:xfrm>
          <a:off x="2341228" y="597178"/>
          <a:ext cx="1743215" cy="35343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50000"/>
              <a:hueOff val="244193"/>
              <a:satOff val="0"/>
              <a:lumOff val="2415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784" tIns="49784" rIns="49784" bIns="49784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Integração SOA score </a:t>
          </a:r>
          <a:r>
            <a:rPr lang="pt-BR" sz="700" kern="1200" dirty="0" err="1" smtClean="0">
              <a:latin typeface="Simplon BP Regular" pitchFamily="2" charset="0"/>
            </a:rPr>
            <a:t>Transact</a:t>
          </a:r>
          <a:r>
            <a:rPr lang="pt-BR" sz="700" kern="1200" dirty="0" smtClean="0">
              <a:latin typeface="Simplon BP Regular" pitchFamily="2" charset="0"/>
            </a:rPr>
            <a:t> online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Evolução do Portal de alarmes e novos relatórios Prevenção a fraudes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Motor score analítico de regras (pesos)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solidFill>
                <a:srgbClr val="69D170"/>
              </a:solidFill>
              <a:latin typeface="Simplon BP Regular" pitchFamily="2" charset="0"/>
            </a:rPr>
            <a:t>Motor de qualidade do telefone de contato e endereço confiável</a:t>
          </a:r>
          <a:endParaRPr lang="pt-BR" sz="700" kern="1200" dirty="0">
            <a:solidFill>
              <a:srgbClr val="69D170"/>
            </a:solidFill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solidFill>
                <a:srgbClr val="69D170"/>
              </a:solidFill>
              <a:latin typeface="Simplon BP Regular" pitchFamily="2" charset="0"/>
            </a:rPr>
            <a:t>Regras de prevenção Oi Total</a:t>
          </a:r>
          <a:endParaRPr lang="pt-BR" sz="700" kern="1200" dirty="0">
            <a:solidFill>
              <a:srgbClr val="69D170"/>
            </a:solidFill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700" kern="1200" dirty="0">
            <a:solidFill>
              <a:srgbClr val="69D170"/>
            </a:solidFill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solidFill>
                <a:schemeClr val="accent4">
                  <a:lumMod val="75000"/>
                </a:schemeClr>
              </a:solidFill>
              <a:latin typeface="Simplon BP Regular" pitchFamily="2" charset="0"/>
            </a:rPr>
            <a:t>Regras de prevenção Oi Fibra</a:t>
          </a:r>
          <a:endParaRPr lang="pt-BR" sz="700" kern="1200" dirty="0">
            <a:solidFill>
              <a:schemeClr val="accent4">
                <a:lumMod val="75000"/>
              </a:schemeClr>
            </a:solidFill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solidFill>
                <a:schemeClr val="accent4">
                  <a:lumMod val="75000"/>
                </a:schemeClr>
              </a:solidFill>
              <a:latin typeface="Simplon BP Regular" pitchFamily="2" charset="0"/>
            </a:rPr>
            <a:t>Novas telas de operação de crédito (ganho de produtividade no tratamento de propostas derivadas),  relatórios de gestão,</a:t>
          </a:r>
          <a:endParaRPr lang="pt-BR" sz="700" kern="1200" dirty="0">
            <a:solidFill>
              <a:schemeClr val="accent4">
                <a:lumMod val="75000"/>
              </a:schemeClr>
            </a:solidFill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700" kern="1200" dirty="0">
            <a:solidFill>
              <a:schemeClr val="accent4">
                <a:lumMod val="75000"/>
              </a:schemeClr>
            </a:solidFill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solidFill>
                <a:schemeClr val="accent4">
                  <a:lumMod val="75000"/>
                </a:schemeClr>
              </a:solidFill>
              <a:latin typeface="Simplon BP Regular" pitchFamily="2" charset="0"/>
            </a:rPr>
            <a:t> </a:t>
          </a:r>
          <a:r>
            <a:rPr lang="pt-BR" sz="700" kern="1200" dirty="0" smtClean="0">
              <a:solidFill>
                <a:srgbClr val="00B0F0"/>
              </a:solidFill>
              <a:latin typeface="Simplon BP Regular" pitchFamily="2" charset="0"/>
            </a:rPr>
            <a:t>migração de histórico de tratamento</a:t>
          </a:r>
          <a:endParaRPr lang="pt-BR" sz="700" kern="1200" dirty="0">
            <a:solidFill>
              <a:schemeClr val="accent4">
                <a:lumMod val="75000"/>
              </a:schemeClr>
            </a:solidFill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solidFill>
                <a:srgbClr val="00B0F0"/>
              </a:solidFill>
              <a:latin typeface="Simplon BP Regular" pitchFamily="2" charset="0"/>
            </a:rPr>
            <a:t>Carga de arquivos </a:t>
          </a:r>
          <a:r>
            <a:rPr lang="pt-BR" sz="700" kern="1200" dirty="0" err="1" smtClean="0">
              <a:solidFill>
                <a:srgbClr val="00B0F0"/>
              </a:solidFill>
              <a:latin typeface="Simplon BP Regular" pitchFamily="2" charset="0"/>
            </a:rPr>
            <a:t>Churn</a:t>
          </a:r>
          <a:r>
            <a:rPr lang="pt-BR" sz="700" kern="1200" dirty="0" smtClean="0">
              <a:solidFill>
                <a:srgbClr val="00B0F0"/>
              </a:solidFill>
              <a:latin typeface="Simplon BP Regular" pitchFamily="2" charset="0"/>
            </a:rPr>
            <a:t>, CEP, CPF e telefone</a:t>
          </a:r>
          <a:r>
            <a:rPr lang="pt-BR" sz="700" kern="1200" dirty="0" smtClean="0">
              <a:solidFill>
                <a:schemeClr val="accent4">
                  <a:lumMod val="75000"/>
                </a:schemeClr>
              </a:solidFill>
              <a:latin typeface="Simplon BP Regular" pitchFamily="2" charset="0"/>
            </a:rPr>
            <a:t>.</a:t>
          </a:r>
          <a:endParaRPr lang="pt-BR" sz="700" kern="1200" dirty="0">
            <a:solidFill>
              <a:srgbClr val="00B0F0"/>
            </a:solidFill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solidFill>
                <a:srgbClr val="00B0F0"/>
              </a:solidFill>
              <a:latin typeface="Simplon BP Regular" pitchFamily="2" charset="0"/>
            </a:rPr>
            <a:t>Discador automático e carga de histórico de contatos</a:t>
          </a:r>
          <a:endParaRPr lang="pt-BR" sz="700" kern="1200" dirty="0">
            <a:solidFill>
              <a:srgbClr val="00B0F0"/>
            </a:solidFill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Motor score online (</a:t>
          </a:r>
          <a:r>
            <a:rPr lang="pt-BR" sz="700" kern="1200" dirty="0" smtClean="0">
              <a:solidFill>
                <a:srgbClr val="00B0F0"/>
              </a:solidFill>
              <a:latin typeface="Simplon BP Regular" pitchFamily="2" charset="0"/>
            </a:rPr>
            <a:t>+regras de convivência off-line</a:t>
          </a:r>
          <a:r>
            <a:rPr lang="pt-BR" sz="700" kern="1200" dirty="0" smtClean="0">
              <a:latin typeface="Simplon BP Regular" pitchFamily="2" charset="0"/>
            </a:rPr>
            <a:t>)</a:t>
          </a:r>
          <a:endParaRPr lang="pt-BR" sz="700" kern="1200" dirty="0">
            <a:solidFill>
              <a:srgbClr val="00B0F0"/>
            </a:solidFill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700" kern="1200" dirty="0">
            <a:solidFill>
              <a:srgbClr val="00B0F0"/>
            </a:solidFill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solidFill>
                <a:srgbClr val="FF954D"/>
              </a:solidFill>
              <a:latin typeface="Simplon BP Regular" pitchFamily="2" charset="0"/>
            </a:rPr>
            <a:t>Integração e carga base </a:t>
          </a:r>
          <a:r>
            <a:rPr lang="pt-BR" sz="700" kern="1200" dirty="0" err="1" smtClean="0">
              <a:solidFill>
                <a:srgbClr val="FF954D"/>
              </a:solidFill>
              <a:latin typeface="Simplon BP Regular" pitchFamily="2" charset="0"/>
            </a:rPr>
            <a:t>Transact</a:t>
          </a:r>
          <a:endParaRPr lang="pt-BR" sz="700" kern="1200" dirty="0">
            <a:latin typeface="Simplon BP Regular" pitchFamily="2" charset="0"/>
          </a:endParaRPr>
        </a:p>
      </dsp:txBody>
      <dsp:txXfrm>
        <a:off x="2392285" y="648235"/>
        <a:ext cx="1641101" cy="3432186"/>
      </dsp:txXfrm>
    </dsp:sp>
    <dsp:sp modelId="{929B5A78-5BA9-45C0-A91A-BE0E6C52788E}">
      <dsp:nvSpPr>
        <dsp:cNvPr id="0" name=""/>
        <dsp:cNvSpPr/>
      </dsp:nvSpPr>
      <dsp:spPr>
        <a:xfrm>
          <a:off x="3876969" y="290641"/>
          <a:ext cx="540144" cy="345266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shade val="90000"/>
            <a:hueOff val="348222"/>
            <a:satOff val="0"/>
            <a:lumOff val="2602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600" kern="1200"/>
        </a:p>
      </dsp:txBody>
      <dsp:txXfrm>
        <a:off x="3876969" y="359694"/>
        <a:ext cx="436564" cy="207160"/>
      </dsp:txXfrm>
    </dsp:sp>
    <dsp:sp modelId="{889D9DF3-4176-4A88-BE35-796A6571C501}">
      <dsp:nvSpPr>
        <dsp:cNvPr id="0" name=""/>
        <dsp:cNvSpPr/>
      </dsp:nvSpPr>
      <dsp:spPr>
        <a:xfrm>
          <a:off x="4641324" y="329371"/>
          <a:ext cx="1386772" cy="401711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488385"/>
            <a:satOff val="0"/>
            <a:lumOff val="4830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Ondas 7.1/7.2 :: CRM,  Recargas e Inadimplência</a:t>
          </a:r>
          <a:endParaRPr lang="pt-BR" sz="700" kern="1200" dirty="0">
            <a:latin typeface="Simplon BP Regular" pitchFamily="2" charset="0"/>
          </a:endParaRPr>
        </a:p>
      </dsp:txBody>
      <dsp:txXfrm>
        <a:off x="4641324" y="329371"/>
        <a:ext cx="1386772" cy="267807"/>
      </dsp:txXfrm>
    </dsp:sp>
    <dsp:sp modelId="{DD876723-B8B5-4B58-AC90-014762D7785A}">
      <dsp:nvSpPr>
        <dsp:cNvPr id="0" name=""/>
        <dsp:cNvSpPr/>
      </dsp:nvSpPr>
      <dsp:spPr>
        <a:xfrm>
          <a:off x="4742135" y="567208"/>
          <a:ext cx="1579187" cy="35343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50000"/>
              <a:hueOff val="488385"/>
              <a:satOff val="0"/>
              <a:lumOff val="4830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784" tIns="49784" rIns="49784" bIns="49784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Integração e carga CRM Oi (SINN, SIEBEL6.3, SIEBEL8, STC e SAC) incremental e </a:t>
          </a:r>
          <a:r>
            <a:rPr lang="pt-BR" sz="700" kern="1200" dirty="0" err="1" smtClean="0">
              <a:latin typeface="Simplon BP Regular" pitchFamily="2" charset="0"/>
            </a:rPr>
            <a:t>full</a:t>
          </a:r>
          <a:r>
            <a:rPr lang="pt-BR" sz="700" kern="1200" dirty="0" smtClean="0">
              <a:latin typeface="Simplon BP Regular" pitchFamily="2" charset="0"/>
            </a:rPr>
            <a:t> 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Integração com 31Global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Motor de qualidade de vendas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Integração com recargas de pré-pago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Motor de score de migração </a:t>
          </a:r>
          <a:r>
            <a:rPr lang="pt-BR" sz="700" kern="1200" dirty="0" err="1" smtClean="0">
              <a:latin typeface="Simplon BP Regular" pitchFamily="2" charset="0"/>
            </a:rPr>
            <a:t>pré-pós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Integração e carga com bases de inadimplência.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Evolução motor de regras e score online e modelos estatísticos avançados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solidFill>
                <a:srgbClr val="69D170"/>
              </a:solidFill>
              <a:latin typeface="Simplon BP Regular" pitchFamily="2" charset="0"/>
            </a:rPr>
            <a:t>Integração DW cadastro</a:t>
          </a:r>
          <a:endParaRPr lang="pt-BR" sz="700" kern="1200" dirty="0">
            <a:latin typeface="Simplon BP Regular" pitchFamily="2" charset="0"/>
          </a:endParaRPr>
        </a:p>
      </dsp:txBody>
      <dsp:txXfrm>
        <a:off x="4788388" y="613461"/>
        <a:ext cx="1486681" cy="3441794"/>
      </dsp:txXfrm>
    </dsp:sp>
    <dsp:sp modelId="{B6FCCECD-0E52-4245-BDCB-B65F0C81F2CF}">
      <dsp:nvSpPr>
        <dsp:cNvPr id="0" name=""/>
        <dsp:cNvSpPr/>
      </dsp:nvSpPr>
      <dsp:spPr>
        <a:xfrm>
          <a:off x="6262379" y="290641"/>
          <a:ext cx="496676" cy="345266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shade val="90000"/>
            <a:hueOff val="348222"/>
            <a:satOff val="0"/>
            <a:lumOff val="2602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600" kern="1200"/>
        </a:p>
      </dsp:txBody>
      <dsp:txXfrm>
        <a:off x="6262379" y="359694"/>
        <a:ext cx="393096" cy="207160"/>
      </dsp:txXfrm>
    </dsp:sp>
    <dsp:sp modelId="{C5C0BF84-3D4F-4E45-811F-C8EE91F3D3D5}">
      <dsp:nvSpPr>
        <dsp:cNvPr id="0" name=""/>
        <dsp:cNvSpPr/>
      </dsp:nvSpPr>
      <dsp:spPr>
        <a:xfrm>
          <a:off x="6965223" y="329371"/>
          <a:ext cx="1386772" cy="401711"/>
        </a:xfrm>
        <a:prstGeom prst="roundRect">
          <a:avLst>
            <a:gd name="adj" fmla="val 10000"/>
          </a:avLst>
        </a:prstGeom>
        <a:solidFill>
          <a:schemeClr val="accent6">
            <a:shade val="50000"/>
            <a:hueOff val="244193"/>
            <a:satOff val="0"/>
            <a:lumOff val="2415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Onda 10 :: Oi Controle sem fatura</a:t>
          </a:r>
          <a:endParaRPr lang="pt-BR" sz="700" kern="1200" dirty="0">
            <a:latin typeface="Simplon BP Regular" pitchFamily="2" charset="0"/>
          </a:endParaRPr>
        </a:p>
      </dsp:txBody>
      <dsp:txXfrm>
        <a:off x="6965223" y="329371"/>
        <a:ext cx="1386772" cy="267807"/>
      </dsp:txXfrm>
    </dsp:sp>
    <dsp:sp modelId="{C050ADDE-7216-451F-BC25-5CD750E8A8C4}">
      <dsp:nvSpPr>
        <dsp:cNvPr id="0" name=""/>
        <dsp:cNvSpPr/>
      </dsp:nvSpPr>
      <dsp:spPr>
        <a:xfrm>
          <a:off x="7249261" y="597178"/>
          <a:ext cx="1386772" cy="35343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50000"/>
              <a:hueOff val="244193"/>
              <a:satOff val="0"/>
              <a:lumOff val="2415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784" tIns="49784" rIns="49784" bIns="49784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Integração com plataforma M4U para tratamento de ativações Oi Controle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Motor de regras e score baseado no volume de recargas x migração Controle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Integração com </a:t>
          </a:r>
          <a:r>
            <a:rPr lang="pt-BR" sz="700" kern="1200" dirty="0" err="1" smtClean="0">
              <a:latin typeface="Simplon BP Regular" pitchFamily="2" charset="0"/>
            </a:rPr>
            <a:t>Clearsale</a:t>
          </a:r>
          <a:r>
            <a:rPr lang="pt-BR" sz="700" kern="1200" dirty="0" smtClean="0">
              <a:latin typeface="Simplon BP Regular" pitchFamily="2" charset="0"/>
            </a:rPr>
            <a:t> para score de risco Oi Controle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700" kern="1200" dirty="0" smtClean="0">
              <a:latin typeface="Simplon BP Regular" pitchFamily="2" charset="0"/>
            </a:rPr>
            <a:t>Motor score de risco </a:t>
          </a:r>
          <a:r>
            <a:rPr lang="pt-BR" sz="700" kern="1200" dirty="0" err="1" smtClean="0">
              <a:latin typeface="Simplon BP Regular" pitchFamily="2" charset="0"/>
            </a:rPr>
            <a:t>chargeback</a:t>
          </a:r>
          <a:r>
            <a:rPr lang="pt-BR" sz="700" kern="1200" dirty="0" smtClean="0">
              <a:latin typeface="Simplon BP Regular" pitchFamily="2" charset="0"/>
            </a:rPr>
            <a:t> Oi Controle</a:t>
          </a:r>
          <a:endParaRPr lang="pt-BR" sz="700" kern="1200" dirty="0">
            <a:latin typeface="Simplon BP Regular" pitchFamily="2" charset="0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700" kern="1200" dirty="0">
            <a:latin typeface="Simplon BP Regular" pitchFamily="2" charset="0"/>
          </a:endParaRPr>
        </a:p>
      </dsp:txBody>
      <dsp:txXfrm>
        <a:off x="7289878" y="637795"/>
        <a:ext cx="1305538" cy="345306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7D4C5D-C018-41AA-AA85-94CE290DF803}">
      <dsp:nvSpPr>
        <dsp:cNvPr id="0" name=""/>
        <dsp:cNvSpPr/>
      </dsp:nvSpPr>
      <dsp:spPr>
        <a:xfrm>
          <a:off x="803666" y="434216"/>
          <a:ext cx="15316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5316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400" kern="1200"/>
        </a:p>
      </dsp:txBody>
      <dsp:txXfrm>
        <a:off x="875654" y="479016"/>
        <a:ext cx="9188" cy="1839"/>
      </dsp:txXfrm>
    </dsp:sp>
    <dsp:sp modelId="{0D3EB8BB-EC95-4A48-BD2D-52C4D1DAC605}">
      <dsp:nvSpPr>
        <dsp:cNvPr id="0" name=""/>
        <dsp:cNvSpPr/>
      </dsp:nvSpPr>
      <dsp:spPr>
        <a:xfrm>
          <a:off x="6493" y="240244"/>
          <a:ext cx="798973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>
              <a:latin typeface="Simplon BP Light" pitchFamily="2" charset="0"/>
            </a:rPr>
            <a:t>CRM</a:t>
          </a:r>
          <a:endParaRPr lang="pt-BR" sz="1000" kern="1200" dirty="0">
            <a:latin typeface="Simplon BP Light" pitchFamily="2" charset="0"/>
          </a:endParaRPr>
        </a:p>
      </dsp:txBody>
      <dsp:txXfrm>
        <a:off x="6493" y="240244"/>
        <a:ext cx="798973" cy="479384"/>
      </dsp:txXfrm>
    </dsp:sp>
    <dsp:sp modelId="{93E1EC96-54F6-4961-AC5A-9E2D1D2817A7}">
      <dsp:nvSpPr>
        <dsp:cNvPr id="0" name=""/>
        <dsp:cNvSpPr/>
      </dsp:nvSpPr>
      <dsp:spPr>
        <a:xfrm>
          <a:off x="1786403" y="434216"/>
          <a:ext cx="15316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5316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400" kern="1200"/>
        </a:p>
      </dsp:txBody>
      <dsp:txXfrm>
        <a:off x="1858391" y="479016"/>
        <a:ext cx="9188" cy="1839"/>
      </dsp:txXfrm>
    </dsp:sp>
    <dsp:sp modelId="{187EA94A-50E2-473E-9FF7-5F90B7B5209D}">
      <dsp:nvSpPr>
        <dsp:cNvPr id="0" name=""/>
        <dsp:cNvSpPr/>
      </dsp:nvSpPr>
      <dsp:spPr>
        <a:xfrm>
          <a:off x="989230" y="240244"/>
          <a:ext cx="798973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896" tIns="56896" rIns="56896" bIns="56896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800" kern="1200" dirty="0" smtClean="0">
              <a:latin typeface="Simplon BP Light" pitchFamily="2" charset="0"/>
            </a:rPr>
            <a:t>FPD/ INADIMPLÊNCIA</a:t>
          </a:r>
          <a:endParaRPr lang="pt-BR" sz="800" kern="1200" dirty="0">
            <a:latin typeface="Simplon BP Light" pitchFamily="2" charset="0"/>
          </a:endParaRPr>
        </a:p>
      </dsp:txBody>
      <dsp:txXfrm>
        <a:off x="989230" y="240244"/>
        <a:ext cx="798973" cy="479384"/>
      </dsp:txXfrm>
    </dsp:sp>
    <dsp:sp modelId="{40CD2E23-3716-4AD5-AAB3-B5EAF424D2B7}">
      <dsp:nvSpPr>
        <dsp:cNvPr id="0" name=""/>
        <dsp:cNvSpPr/>
      </dsp:nvSpPr>
      <dsp:spPr>
        <a:xfrm>
          <a:off x="2769140" y="434216"/>
          <a:ext cx="15316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5316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400" kern="1200"/>
        </a:p>
      </dsp:txBody>
      <dsp:txXfrm>
        <a:off x="2841128" y="479016"/>
        <a:ext cx="9188" cy="1839"/>
      </dsp:txXfrm>
    </dsp:sp>
    <dsp:sp modelId="{9A8C452F-A52E-47D5-89CC-5FE170468BAF}">
      <dsp:nvSpPr>
        <dsp:cNvPr id="0" name=""/>
        <dsp:cNvSpPr/>
      </dsp:nvSpPr>
      <dsp:spPr>
        <a:xfrm>
          <a:off x="1971967" y="240244"/>
          <a:ext cx="798973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49784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Light" pitchFamily="2" charset="0"/>
            </a:rPr>
            <a:t>FRAUDES OI, VIVO, TIM, CLARO</a:t>
          </a:r>
          <a:endParaRPr lang="pt-BR" sz="700" kern="1200" dirty="0">
            <a:latin typeface="Simplon BP Light" pitchFamily="2" charset="0"/>
          </a:endParaRPr>
        </a:p>
      </dsp:txBody>
      <dsp:txXfrm>
        <a:off x="1971967" y="240244"/>
        <a:ext cx="798973" cy="479384"/>
      </dsp:txXfrm>
    </dsp:sp>
    <dsp:sp modelId="{E5B65E08-8F97-418B-BBBD-1BE14E3C39B8}">
      <dsp:nvSpPr>
        <dsp:cNvPr id="0" name=""/>
        <dsp:cNvSpPr/>
      </dsp:nvSpPr>
      <dsp:spPr>
        <a:xfrm>
          <a:off x="3751878" y="434216"/>
          <a:ext cx="15316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5316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400" kern="1200"/>
        </a:p>
      </dsp:txBody>
      <dsp:txXfrm>
        <a:off x="3823866" y="479016"/>
        <a:ext cx="9188" cy="1839"/>
      </dsp:txXfrm>
    </dsp:sp>
    <dsp:sp modelId="{F1B5725A-5AB1-41A3-BE15-F16DDE122A05}">
      <dsp:nvSpPr>
        <dsp:cNvPr id="0" name=""/>
        <dsp:cNvSpPr/>
      </dsp:nvSpPr>
      <dsp:spPr>
        <a:xfrm>
          <a:off x="2954704" y="240244"/>
          <a:ext cx="798973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>
              <a:latin typeface="Simplon BP Light" pitchFamily="2" charset="0"/>
            </a:rPr>
            <a:t>URA</a:t>
          </a:r>
          <a:endParaRPr lang="pt-BR" sz="1000" kern="1200" dirty="0">
            <a:latin typeface="Simplon BP Light" pitchFamily="2" charset="0"/>
          </a:endParaRPr>
        </a:p>
      </dsp:txBody>
      <dsp:txXfrm>
        <a:off x="2954704" y="240244"/>
        <a:ext cx="798973" cy="479384"/>
      </dsp:txXfrm>
    </dsp:sp>
    <dsp:sp modelId="{1C5F5CFE-AD69-43C3-B1A7-8FE731FBE05D}">
      <dsp:nvSpPr>
        <dsp:cNvPr id="0" name=""/>
        <dsp:cNvSpPr/>
      </dsp:nvSpPr>
      <dsp:spPr>
        <a:xfrm>
          <a:off x="4734615" y="434216"/>
          <a:ext cx="15316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5316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400" kern="1200"/>
        </a:p>
      </dsp:txBody>
      <dsp:txXfrm>
        <a:off x="4806603" y="479016"/>
        <a:ext cx="9188" cy="1839"/>
      </dsp:txXfrm>
    </dsp:sp>
    <dsp:sp modelId="{31BBC6B6-9472-49D7-88F3-816FCE278D62}">
      <dsp:nvSpPr>
        <dsp:cNvPr id="0" name=""/>
        <dsp:cNvSpPr/>
      </dsp:nvSpPr>
      <dsp:spPr>
        <a:xfrm>
          <a:off x="3937442" y="240244"/>
          <a:ext cx="798973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>
              <a:latin typeface="Simplon BP Light" pitchFamily="2" charset="0"/>
            </a:rPr>
            <a:t>SCORE EXTERNO</a:t>
          </a:r>
          <a:endParaRPr lang="pt-BR" sz="1000" kern="1200" dirty="0">
            <a:latin typeface="Simplon BP Light" pitchFamily="2" charset="0"/>
          </a:endParaRPr>
        </a:p>
      </dsp:txBody>
      <dsp:txXfrm>
        <a:off x="3937442" y="240244"/>
        <a:ext cx="798973" cy="479384"/>
      </dsp:txXfrm>
    </dsp:sp>
    <dsp:sp modelId="{21F22CDB-627A-4A5F-919C-2D5279BE560E}">
      <dsp:nvSpPr>
        <dsp:cNvPr id="0" name=""/>
        <dsp:cNvSpPr/>
      </dsp:nvSpPr>
      <dsp:spPr>
        <a:xfrm>
          <a:off x="5717352" y="434216"/>
          <a:ext cx="15316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5316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400" kern="1200"/>
        </a:p>
      </dsp:txBody>
      <dsp:txXfrm>
        <a:off x="5789340" y="479016"/>
        <a:ext cx="9188" cy="1839"/>
      </dsp:txXfrm>
    </dsp:sp>
    <dsp:sp modelId="{12CE49E4-BA24-4B01-BEBB-1653CF84733D}">
      <dsp:nvSpPr>
        <dsp:cNvPr id="0" name=""/>
        <dsp:cNvSpPr/>
      </dsp:nvSpPr>
      <dsp:spPr>
        <a:xfrm>
          <a:off x="4920179" y="240244"/>
          <a:ext cx="798973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49784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Light" pitchFamily="2" charset="0"/>
            </a:rPr>
            <a:t>CADASTRO </a:t>
          </a:r>
          <a:r>
            <a:rPr lang="pt-BR" sz="700" kern="1200" dirty="0" err="1" smtClean="0">
              <a:latin typeface="Simplon BP Light" pitchFamily="2" charset="0"/>
            </a:rPr>
            <a:t>PDVs</a:t>
          </a:r>
          <a:r>
            <a:rPr lang="pt-BR" sz="700" kern="1200" dirty="0" smtClean="0">
              <a:latin typeface="Simplon BP Light" pitchFamily="2" charset="0"/>
            </a:rPr>
            <a:t>/LOGINS (</a:t>
          </a:r>
          <a:r>
            <a:rPr lang="pt-BR" sz="500" kern="1200" dirty="0" smtClean="0">
              <a:latin typeface="Simplon BP Light" pitchFamily="2" charset="0"/>
            </a:rPr>
            <a:t>CONTAX, BTCC, ETC)</a:t>
          </a:r>
          <a:endParaRPr lang="pt-BR" sz="500" kern="1200" dirty="0">
            <a:latin typeface="Simplon BP Light" pitchFamily="2" charset="0"/>
          </a:endParaRPr>
        </a:p>
      </dsp:txBody>
      <dsp:txXfrm>
        <a:off x="4920179" y="240244"/>
        <a:ext cx="798973" cy="479384"/>
      </dsp:txXfrm>
    </dsp:sp>
    <dsp:sp modelId="{353C8922-B81C-47C9-A512-FDBB4B078C94}">
      <dsp:nvSpPr>
        <dsp:cNvPr id="0" name=""/>
        <dsp:cNvSpPr/>
      </dsp:nvSpPr>
      <dsp:spPr>
        <a:xfrm>
          <a:off x="405979" y="717828"/>
          <a:ext cx="5983191" cy="153163"/>
        </a:xfrm>
        <a:custGeom>
          <a:avLst/>
          <a:gdLst/>
          <a:ahLst/>
          <a:cxnLst/>
          <a:rect l="0" t="0" r="0" b="0"/>
          <a:pathLst>
            <a:path>
              <a:moveTo>
                <a:pt x="5983191" y="0"/>
              </a:moveTo>
              <a:lnTo>
                <a:pt x="5983191" y="93681"/>
              </a:lnTo>
              <a:lnTo>
                <a:pt x="0" y="93681"/>
              </a:lnTo>
              <a:lnTo>
                <a:pt x="0" y="153163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400" kern="1200"/>
        </a:p>
      </dsp:txBody>
      <dsp:txXfrm>
        <a:off x="3247925" y="793490"/>
        <a:ext cx="299300" cy="1839"/>
      </dsp:txXfrm>
    </dsp:sp>
    <dsp:sp modelId="{308CF5BB-2CC9-4A89-8994-7E1482F23158}">
      <dsp:nvSpPr>
        <dsp:cNvPr id="0" name=""/>
        <dsp:cNvSpPr/>
      </dsp:nvSpPr>
      <dsp:spPr>
        <a:xfrm>
          <a:off x="5902916" y="240244"/>
          <a:ext cx="972510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896" tIns="56896" rIns="56896" bIns="56896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800" kern="1200" dirty="0" smtClean="0">
              <a:latin typeface="Simplon BP Light" pitchFamily="2" charset="0"/>
            </a:rPr>
            <a:t>DW/BOV (PLANTA, GROSS, CHURN)</a:t>
          </a:r>
          <a:endParaRPr lang="pt-BR" sz="800" kern="1200" dirty="0">
            <a:latin typeface="Simplon BP Light" pitchFamily="2" charset="0"/>
          </a:endParaRPr>
        </a:p>
      </dsp:txBody>
      <dsp:txXfrm>
        <a:off x="5902916" y="240244"/>
        <a:ext cx="972510" cy="479384"/>
      </dsp:txXfrm>
    </dsp:sp>
    <dsp:sp modelId="{D9E4B7F8-C356-4BFE-9891-81380249FABD}">
      <dsp:nvSpPr>
        <dsp:cNvPr id="0" name=""/>
        <dsp:cNvSpPr/>
      </dsp:nvSpPr>
      <dsp:spPr>
        <a:xfrm>
          <a:off x="803666" y="1097364"/>
          <a:ext cx="15316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5316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400" kern="1200"/>
        </a:p>
      </dsp:txBody>
      <dsp:txXfrm>
        <a:off x="875654" y="1142164"/>
        <a:ext cx="9188" cy="1839"/>
      </dsp:txXfrm>
    </dsp:sp>
    <dsp:sp modelId="{AF5CC2C3-32D4-4830-AD50-8D76100E40D9}">
      <dsp:nvSpPr>
        <dsp:cNvPr id="0" name=""/>
        <dsp:cNvSpPr/>
      </dsp:nvSpPr>
      <dsp:spPr>
        <a:xfrm>
          <a:off x="6493" y="903392"/>
          <a:ext cx="798973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>
              <a:latin typeface="Simplon BP Light" pitchFamily="2" charset="0"/>
            </a:rPr>
            <a:t>FATURAMENTO</a:t>
          </a:r>
          <a:endParaRPr lang="pt-BR" sz="1000" kern="1200" dirty="0">
            <a:latin typeface="Simplon BP Light" pitchFamily="2" charset="0"/>
          </a:endParaRPr>
        </a:p>
      </dsp:txBody>
      <dsp:txXfrm>
        <a:off x="6493" y="903392"/>
        <a:ext cx="798973" cy="479384"/>
      </dsp:txXfrm>
    </dsp:sp>
    <dsp:sp modelId="{9AE784D8-59F4-4A63-8697-0789CA21913E}">
      <dsp:nvSpPr>
        <dsp:cNvPr id="0" name=""/>
        <dsp:cNvSpPr/>
      </dsp:nvSpPr>
      <dsp:spPr>
        <a:xfrm>
          <a:off x="1786403" y="1097364"/>
          <a:ext cx="15316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5316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400" kern="1200"/>
        </a:p>
      </dsp:txBody>
      <dsp:txXfrm>
        <a:off x="1858391" y="1142164"/>
        <a:ext cx="9188" cy="1839"/>
      </dsp:txXfrm>
    </dsp:sp>
    <dsp:sp modelId="{BCA65635-A41B-442D-B311-F727411B5B07}">
      <dsp:nvSpPr>
        <dsp:cNvPr id="0" name=""/>
        <dsp:cNvSpPr/>
      </dsp:nvSpPr>
      <dsp:spPr>
        <a:xfrm>
          <a:off x="989230" y="903392"/>
          <a:ext cx="798973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>
              <a:latin typeface="Simplon BP Light" pitchFamily="2" charset="0"/>
            </a:rPr>
            <a:t>M4U</a:t>
          </a:r>
          <a:endParaRPr lang="pt-BR" sz="1000" kern="1200" dirty="0">
            <a:latin typeface="Simplon BP Light" pitchFamily="2" charset="0"/>
          </a:endParaRPr>
        </a:p>
      </dsp:txBody>
      <dsp:txXfrm>
        <a:off x="989230" y="903392"/>
        <a:ext cx="798973" cy="479384"/>
      </dsp:txXfrm>
    </dsp:sp>
    <dsp:sp modelId="{E7D2056E-4E23-4B14-8D4B-CED113900A8A}">
      <dsp:nvSpPr>
        <dsp:cNvPr id="0" name=""/>
        <dsp:cNvSpPr/>
      </dsp:nvSpPr>
      <dsp:spPr>
        <a:xfrm>
          <a:off x="2769140" y="1097364"/>
          <a:ext cx="15316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5316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00" kern="1200"/>
        </a:p>
      </dsp:txBody>
      <dsp:txXfrm>
        <a:off x="2841128" y="1142164"/>
        <a:ext cx="9188" cy="1839"/>
      </dsp:txXfrm>
    </dsp:sp>
    <dsp:sp modelId="{59BDE1F0-5BAE-41A2-A731-9BA200BB9D45}">
      <dsp:nvSpPr>
        <dsp:cNvPr id="0" name=""/>
        <dsp:cNvSpPr/>
      </dsp:nvSpPr>
      <dsp:spPr>
        <a:xfrm>
          <a:off x="1971967" y="903392"/>
          <a:ext cx="798973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err="1" smtClean="0">
              <a:latin typeface="Simplon BP Light" pitchFamily="2" charset="0"/>
            </a:rPr>
            <a:t>CDRs</a:t>
          </a:r>
          <a:r>
            <a:rPr lang="pt-BR" sz="1000" kern="1200" dirty="0" smtClean="0">
              <a:latin typeface="Simplon BP Light" pitchFamily="2" charset="0"/>
            </a:rPr>
            <a:t> VOZ, DADOS, SMS</a:t>
          </a:r>
          <a:endParaRPr lang="pt-BR" sz="1000" kern="1200" dirty="0">
            <a:latin typeface="Simplon BP Light" pitchFamily="2" charset="0"/>
          </a:endParaRPr>
        </a:p>
      </dsp:txBody>
      <dsp:txXfrm>
        <a:off x="1971967" y="903392"/>
        <a:ext cx="798973" cy="479384"/>
      </dsp:txXfrm>
    </dsp:sp>
    <dsp:sp modelId="{60BBDB1E-E445-4333-8A9C-C517EBED6EC3}">
      <dsp:nvSpPr>
        <dsp:cNvPr id="0" name=""/>
        <dsp:cNvSpPr/>
      </dsp:nvSpPr>
      <dsp:spPr>
        <a:xfrm>
          <a:off x="3751878" y="1097364"/>
          <a:ext cx="15316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5316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00" kern="1200"/>
        </a:p>
      </dsp:txBody>
      <dsp:txXfrm>
        <a:off x="3823866" y="1142164"/>
        <a:ext cx="9188" cy="1839"/>
      </dsp:txXfrm>
    </dsp:sp>
    <dsp:sp modelId="{D4EDA44C-3E5F-4ADB-940F-A871D4EB71FB}">
      <dsp:nvSpPr>
        <dsp:cNvPr id="0" name=""/>
        <dsp:cNvSpPr/>
      </dsp:nvSpPr>
      <dsp:spPr>
        <a:xfrm>
          <a:off x="2954704" y="903392"/>
          <a:ext cx="798973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>
              <a:latin typeface="Simplon BP Light" pitchFamily="2" charset="0"/>
            </a:rPr>
            <a:t>RECARGA PRE</a:t>
          </a:r>
          <a:endParaRPr lang="pt-BR" sz="1000" kern="1200" dirty="0">
            <a:latin typeface="Simplon BP Light" pitchFamily="2" charset="0"/>
          </a:endParaRPr>
        </a:p>
      </dsp:txBody>
      <dsp:txXfrm>
        <a:off x="2954704" y="903392"/>
        <a:ext cx="798973" cy="479384"/>
      </dsp:txXfrm>
    </dsp:sp>
    <dsp:sp modelId="{46DD84CB-C635-4E51-B36C-75D3BB4702B5}">
      <dsp:nvSpPr>
        <dsp:cNvPr id="0" name=""/>
        <dsp:cNvSpPr/>
      </dsp:nvSpPr>
      <dsp:spPr>
        <a:xfrm>
          <a:off x="4921151" y="1097364"/>
          <a:ext cx="15316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5316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00" kern="1200"/>
        </a:p>
      </dsp:txBody>
      <dsp:txXfrm>
        <a:off x="4993139" y="1142164"/>
        <a:ext cx="9188" cy="1839"/>
      </dsp:txXfrm>
    </dsp:sp>
    <dsp:sp modelId="{28CE58FC-B089-48F6-8798-42911F84F4E4}">
      <dsp:nvSpPr>
        <dsp:cNvPr id="0" name=""/>
        <dsp:cNvSpPr/>
      </dsp:nvSpPr>
      <dsp:spPr>
        <a:xfrm>
          <a:off x="3937442" y="903392"/>
          <a:ext cx="985509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49784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/>
            <a:t>EVENTOS DE RISCO (ROAMING, TROCA DE CHIP)</a:t>
          </a:r>
          <a:endParaRPr lang="pt-BR" sz="700" kern="1200" dirty="0"/>
        </a:p>
      </dsp:txBody>
      <dsp:txXfrm>
        <a:off x="3937442" y="903392"/>
        <a:ext cx="985509" cy="479384"/>
      </dsp:txXfrm>
    </dsp:sp>
    <dsp:sp modelId="{BDA09DF9-390B-4D9E-9BF7-1F2491744B6A}">
      <dsp:nvSpPr>
        <dsp:cNvPr id="0" name=""/>
        <dsp:cNvSpPr/>
      </dsp:nvSpPr>
      <dsp:spPr>
        <a:xfrm>
          <a:off x="5106715" y="903392"/>
          <a:ext cx="798973" cy="479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896" tIns="56896" rIns="56896" bIns="56896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800" kern="1200" dirty="0" smtClean="0">
              <a:latin typeface="Simplon BP Light" pitchFamily="2" charset="0"/>
            </a:rPr>
            <a:t>APARELHOS ROUBADOS</a:t>
          </a:r>
          <a:endParaRPr lang="pt-BR" sz="800" kern="1200" dirty="0">
            <a:latin typeface="Simplon BP Light" pitchFamily="2" charset="0"/>
          </a:endParaRPr>
        </a:p>
      </dsp:txBody>
      <dsp:txXfrm>
        <a:off x="5106715" y="903392"/>
        <a:ext cx="798973" cy="47938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826B9E-7AAE-4BBA-AE1A-FB6C75B577B2}">
      <dsp:nvSpPr>
        <dsp:cNvPr id="0" name=""/>
        <dsp:cNvSpPr/>
      </dsp:nvSpPr>
      <dsp:spPr>
        <a:xfrm>
          <a:off x="144016" y="681"/>
          <a:ext cx="1489823" cy="113061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2222" tIns="12700" rIns="62222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>
              <a:latin typeface="Simplon BP Light" pitchFamily="2" charset="0"/>
            </a:rPr>
            <a:t>PREVENÇÃO NA VENDA</a:t>
          </a:r>
          <a:endParaRPr lang="pt-BR" sz="1000" kern="1200" dirty="0">
            <a:latin typeface="Simplon BP Light" pitchFamily="2" charset="0"/>
          </a:endParaRPr>
        </a:p>
      </dsp:txBody>
      <dsp:txXfrm>
        <a:off x="362196" y="166256"/>
        <a:ext cx="1053463" cy="799465"/>
      </dsp:txXfrm>
    </dsp:sp>
    <dsp:sp modelId="{5BDF2128-F7E9-4F33-9646-A3BCBEFD25DE}">
      <dsp:nvSpPr>
        <dsp:cNvPr id="0" name=""/>
        <dsp:cNvSpPr/>
      </dsp:nvSpPr>
      <dsp:spPr>
        <a:xfrm>
          <a:off x="1407716" y="681"/>
          <a:ext cx="1502203" cy="113061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2222" tIns="12700" rIns="62222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>
              <a:latin typeface="Simplon BP Light" pitchFamily="2" charset="0"/>
            </a:rPr>
            <a:t>BLOQUEIO DE FRAUDE DETECÇÃO</a:t>
          </a:r>
          <a:endParaRPr lang="pt-BR" sz="1000" kern="1200" dirty="0">
            <a:latin typeface="Simplon BP Light" pitchFamily="2" charset="0"/>
          </a:endParaRPr>
        </a:p>
      </dsp:txBody>
      <dsp:txXfrm>
        <a:off x="1627709" y="166256"/>
        <a:ext cx="1062217" cy="799465"/>
      </dsp:txXfrm>
    </dsp:sp>
    <dsp:sp modelId="{04B79B51-1679-45B9-B2A3-37AA4249EC9C}">
      <dsp:nvSpPr>
        <dsp:cNvPr id="0" name=""/>
        <dsp:cNvSpPr/>
      </dsp:nvSpPr>
      <dsp:spPr>
        <a:xfrm>
          <a:off x="2683797" y="681"/>
          <a:ext cx="1484712" cy="113061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2222" tIns="12700" rIns="62222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>
              <a:latin typeface="Simplon BP Light" pitchFamily="2" charset="0"/>
            </a:rPr>
            <a:t>BLOQUEIO FRAUDE TRÁFEGO</a:t>
          </a:r>
          <a:endParaRPr lang="pt-BR" sz="1000" kern="1200" dirty="0">
            <a:latin typeface="Simplon BP Light" pitchFamily="2" charset="0"/>
          </a:endParaRPr>
        </a:p>
      </dsp:txBody>
      <dsp:txXfrm>
        <a:off x="2901228" y="166256"/>
        <a:ext cx="1049850" cy="799465"/>
      </dsp:txXfrm>
    </dsp:sp>
    <dsp:sp modelId="{A85A1422-35EC-4FA2-A0A2-3DE774997F2F}">
      <dsp:nvSpPr>
        <dsp:cNvPr id="0" name=""/>
        <dsp:cNvSpPr/>
      </dsp:nvSpPr>
      <dsp:spPr>
        <a:xfrm>
          <a:off x="3942386" y="681"/>
          <a:ext cx="1411279" cy="113061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2222" tIns="12700" rIns="62222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>
              <a:latin typeface="Simplon BP Light" pitchFamily="2" charset="0"/>
            </a:rPr>
            <a:t>ANALITICO AVANÇADO</a:t>
          </a:r>
          <a:endParaRPr lang="pt-BR" sz="1000" kern="1200" dirty="0">
            <a:latin typeface="Simplon BP Light" pitchFamily="2" charset="0"/>
          </a:endParaRPr>
        </a:p>
      </dsp:txBody>
      <dsp:txXfrm>
        <a:off x="4149063" y="166256"/>
        <a:ext cx="997925" cy="799465"/>
      </dsp:txXfrm>
    </dsp:sp>
    <dsp:sp modelId="{4E334931-2DFC-4D45-ADE8-4158564EF12B}">
      <dsp:nvSpPr>
        <dsp:cNvPr id="0" name=""/>
        <dsp:cNvSpPr/>
      </dsp:nvSpPr>
      <dsp:spPr>
        <a:xfrm>
          <a:off x="5127543" y="681"/>
          <a:ext cx="1619810" cy="113061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2222" tIns="12700" rIns="62222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>
              <a:latin typeface="Simplon BP Light" pitchFamily="2" charset="0"/>
            </a:rPr>
            <a:t>TELAS GANHO DE PRODUTIVIDADE NAS PAS</a:t>
          </a:r>
          <a:endParaRPr lang="pt-BR" sz="1000" kern="1200" dirty="0">
            <a:latin typeface="Simplon BP Light" pitchFamily="2" charset="0"/>
          </a:endParaRPr>
        </a:p>
      </dsp:txBody>
      <dsp:txXfrm>
        <a:off x="5364759" y="166256"/>
        <a:ext cx="1145378" cy="7994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enn3">
  <dgm:title val=""/>
  <dgm:desc val=""/>
  <dgm:catLst>
    <dgm:cat type="relationship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fallback" val="2D"/>
        </dgm:alg>
      </dgm:if>
      <dgm:else name="Name3">
        <dgm:alg type="lin">
          <dgm:param type="fallback" val="2D"/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refType="w" refFor="ch" refPtType="node"/>
      <dgm:constr type="w" for="ch" forName="space" refType="w" refFor="ch" refPtType="node" fact="-0.2"/>
      <dgm:constr type="primFontSz" for="ch" ptType="node" op="equ" val="65"/>
    </dgm:constrLst>
    <dgm:ruleLst/>
    <dgm:forEach name="Name4" axis="ch" ptType="node">
      <dgm:layoutNode name="Name5" styleLbl="vennNode1">
        <dgm:varLst>
          <dgm:bulletEnabled val="1"/>
        </dgm:varLst>
        <dgm:alg type="tx">
          <dgm:param type="txAnchorVertCh" val="mid"/>
          <dgm:param type="txAnchorHorzCh" val="ctr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tMarg" refType="primFontSz" fact="0.1"/>
          <dgm:constr type="bMarg" refType="primFontSz" fact="0.1"/>
          <dgm:constr type="lMarg" refType="w" fact="0.156"/>
          <dgm:constr type="rMarg" refType="w" fact="0.156"/>
        </dgm:constrLst>
        <dgm:ruleLst>
          <dgm:rule type="primFontSz" val="5" fact="NaN" max="NaN"/>
        </dgm:ruleLst>
      </dgm:layoutNode>
      <dgm:forEach name="Name6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788B3371-C7D7-F048-A57E-C03D5C4E4947}" type="datetimeFigureOut">
              <a:rPr lang="en-US" smtClean="0"/>
              <a:t>2/16/2018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39AF3DB-B6A1-2444-9DD8-53D016F8E63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20533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Arquivos em </a:t>
            </a:r>
          </a:p>
          <a:p>
            <a:r>
              <a:rPr lang="pt-BR" dirty="0" smtClean="0"/>
              <a:t>1º gráfico – Cezar</a:t>
            </a:r>
          </a:p>
          <a:p>
            <a:r>
              <a:rPr lang="pt-BR" dirty="0" smtClean="0"/>
              <a:t>2º arquivo está em:</a:t>
            </a:r>
            <a:r>
              <a:rPr lang="pt-BR" baseline="0" dirty="0" smtClean="0"/>
              <a:t> \\netprd03\RA_e_Fraude\FRAUDE\APRESENTAÇÃO 2015\Bases apresentação Funil\ARQUIVOS ESPECIFICOS CEZAR - BLOQUEIO POR PROD E BLOQ UTC ((((nome do arquivo: Gráfico no Microsoft </a:t>
            </a:r>
            <a:r>
              <a:rPr lang="pt-BR" baseline="0" dirty="0" err="1" smtClean="0"/>
              <a:t>PowerPoint_GANHO</a:t>
            </a:r>
            <a:r>
              <a:rPr lang="pt-BR" baseline="0" dirty="0" smtClean="0"/>
              <a:t> FINANCEIRO))))</a:t>
            </a:r>
          </a:p>
          <a:p>
            <a:r>
              <a:rPr lang="pt-BR" baseline="0" dirty="0" smtClean="0"/>
              <a:t>3º Report_Portal_Bloqueio_V4_Franatu OUUUUU query Kleyton</a:t>
            </a:r>
          </a:p>
          <a:p>
            <a:r>
              <a:rPr lang="pt-BR" baseline="0" dirty="0" smtClean="0"/>
              <a:t>4º pegar com Estevão (Reclamações)</a:t>
            </a:r>
          </a:p>
          <a:p>
            <a:endParaRPr lang="pt-BR" baseline="0" dirty="0" smtClean="0"/>
          </a:p>
          <a:p>
            <a:endParaRPr lang="pt-BR" baseline="0" dirty="0" smtClean="0"/>
          </a:p>
          <a:p>
            <a:endParaRPr lang="pt-BR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088766-34C5-4455-AB44-91717059963C}" type="slidenum">
              <a:rPr lang="pt-BR" smtClean="0">
                <a:solidFill>
                  <a:prstClr val="black"/>
                </a:solidFill>
              </a:rPr>
              <a:pPr/>
              <a:t>3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41455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image" Target="../media/image12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048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81946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" name="Group 58"/>
          <p:cNvGrpSpPr/>
          <p:nvPr userDrawn="1"/>
        </p:nvGrpSpPr>
        <p:grpSpPr>
          <a:xfrm>
            <a:off x="-130538" y="-70803"/>
            <a:ext cx="9284700" cy="5370148"/>
            <a:chOff x="-130540" y="-70803"/>
            <a:chExt cx="9284700" cy="5370148"/>
          </a:xfrm>
        </p:grpSpPr>
        <p:cxnSp>
          <p:nvCxnSpPr>
            <p:cNvPr id="5" name="Straight Connector 4"/>
            <p:cNvCxnSpPr/>
            <p:nvPr userDrawn="1"/>
          </p:nvCxnSpPr>
          <p:spPr>
            <a:xfrm>
              <a:off x="-130540" y="827999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/>
            <p:cNvCxnSpPr/>
            <p:nvPr userDrawn="1"/>
          </p:nvCxnSpPr>
          <p:spPr>
            <a:xfrm>
              <a:off x="-130540" y="739099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 userDrawn="1"/>
          </p:nvCxnSpPr>
          <p:spPr>
            <a:xfrm>
              <a:off x="-130540" y="650227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576000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836000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924432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3184432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3272864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532864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4621296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5881296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969728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229728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318160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8578160" y="-70803"/>
              <a:ext cx="0" cy="5324746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-130540" y="917932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-130540" y="324000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130540" y="1583865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-130540" y="2159865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-130540" y="2249798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-130540" y="2825798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130540" y="2915731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130540" y="3491731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-130540" y="3581664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130540" y="4157664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130540" y="4247597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130540" y="4823597"/>
              <a:ext cx="9284700" cy="0"/>
            </a:xfrm>
            <a:prstGeom prst="line">
              <a:avLst/>
            </a:prstGeom>
            <a:ln w="3175" cmpd="sng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>
              <a:off x="-130540" y="1871865"/>
              <a:ext cx="9284700" cy="0"/>
            </a:xfrm>
            <a:prstGeom prst="line">
              <a:avLst/>
            </a:prstGeom>
            <a:ln w="3175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>
              <a:off x="-130540" y="2537798"/>
              <a:ext cx="9284700" cy="0"/>
            </a:xfrm>
            <a:prstGeom prst="line">
              <a:avLst/>
            </a:prstGeom>
            <a:ln w="3175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>
              <a:off x="-130540" y="3203731"/>
              <a:ext cx="9284700" cy="0"/>
            </a:xfrm>
            <a:prstGeom prst="line">
              <a:avLst/>
            </a:prstGeom>
            <a:ln w="3175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>
              <a:off x="-130540" y="3869664"/>
              <a:ext cx="9284700" cy="0"/>
            </a:xfrm>
            <a:prstGeom prst="line">
              <a:avLst/>
            </a:prstGeom>
            <a:ln w="3175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>
              <a:off x="-130540" y="4535597"/>
              <a:ext cx="9284700" cy="0"/>
            </a:xfrm>
            <a:prstGeom prst="line">
              <a:avLst/>
            </a:prstGeom>
            <a:ln w="3175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1206000" y="-70803"/>
              <a:ext cx="0" cy="5324746"/>
            </a:xfrm>
            <a:prstGeom prst="line">
              <a:avLst/>
            </a:prstGeom>
            <a:ln w="3175" cmpd="sng">
              <a:solidFill>
                <a:srgbClr val="A6A6A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2554432" y="-25401"/>
              <a:ext cx="0" cy="5324746"/>
            </a:xfrm>
            <a:prstGeom prst="line">
              <a:avLst/>
            </a:prstGeom>
            <a:ln w="3175" cmpd="sng">
              <a:solidFill>
                <a:srgbClr val="A6A6A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>
              <a:off x="3902864" y="-70803"/>
              <a:ext cx="0" cy="5324746"/>
            </a:xfrm>
            <a:prstGeom prst="line">
              <a:avLst/>
            </a:prstGeom>
            <a:ln w="3175" cmpd="sng">
              <a:solidFill>
                <a:srgbClr val="A6A6A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>
              <a:off x="5251296" y="-70803"/>
              <a:ext cx="0" cy="5324746"/>
            </a:xfrm>
            <a:prstGeom prst="line">
              <a:avLst/>
            </a:prstGeom>
            <a:ln w="3175" cmpd="sng">
              <a:solidFill>
                <a:srgbClr val="A6A6A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>
              <a:off x="6599728" y="-25401"/>
              <a:ext cx="0" cy="5324746"/>
            </a:xfrm>
            <a:prstGeom prst="line">
              <a:avLst/>
            </a:prstGeom>
            <a:ln w="3175" cmpd="sng">
              <a:solidFill>
                <a:srgbClr val="A6A6A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>
              <a:off x="7948160" y="-25401"/>
              <a:ext cx="0" cy="5324746"/>
            </a:xfrm>
            <a:prstGeom prst="line">
              <a:avLst/>
            </a:prstGeom>
            <a:ln w="3175" cmpd="sng">
              <a:solidFill>
                <a:srgbClr val="A6A6A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>
              <a:off x="-130540" y="1207181"/>
              <a:ext cx="9284700" cy="0"/>
            </a:xfrm>
            <a:prstGeom prst="line">
              <a:avLst/>
            </a:prstGeom>
            <a:ln w="3175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>
              <a:off x="-130540" y="1496431"/>
              <a:ext cx="9284700" cy="0"/>
            </a:xfrm>
            <a:prstGeom prst="line">
              <a:avLst/>
            </a:prstGeom>
            <a:ln w="3175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09063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7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7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08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9226" y="12723"/>
            <a:ext cx="815863" cy="576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06544" y="4999500"/>
            <a:ext cx="837456" cy="144000"/>
          </a:xfrm>
          <a:prstGeom prst="rect">
            <a:avLst/>
          </a:prstGeom>
        </p:spPr>
        <p:txBody>
          <a:bodyPr lIns="0" tIns="0" rIns="71959" bIns="0" anchor="ctr" anchorCtr="0"/>
          <a:lstStyle>
            <a:lvl1pPr algn="r">
              <a:lnSpc>
                <a:spcPct val="80000"/>
              </a:lnSpc>
              <a:defRPr sz="800">
                <a:solidFill>
                  <a:schemeClr val="accent2"/>
                </a:solidFill>
                <a:latin typeface="Simplon Oi Headline" pitchFamily="50" charset="0"/>
                <a:cs typeface="Arial"/>
              </a:defRPr>
            </a:lvl1pPr>
          </a:lstStyle>
          <a:p>
            <a:pPr defTabSz="456929"/>
            <a:fld id="{34F21757-CAEC-9B46-BA5E-8BB41E742229}" type="slidenum">
              <a:rPr lang="en-US" smtClean="0">
                <a:solidFill>
                  <a:srgbClr val="4D4D4D"/>
                </a:solidFill>
              </a:rPr>
              <a:pPr defTabSz="456929"/>
              <a:t>‹nº›</a:t>
            </a:fld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177801" y="187101"/>
            <a:ext cx="7994600" cy="4320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000" b="0">
                <a:solidFill>
                  <a:schemeClr val="accent1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53277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625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570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5527692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FF6D00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FF6D00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FF6D00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FF6D00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132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737027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3728307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D318"/>
                </a:solidFill>
              </a:defRPr>
            </a:lvl1pPr>
          </a:lstStyle>
          <a:p>
            <a:r>
              <a:rPr lang="pt-PT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00D318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00D318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b" anchorCtr="0">
            <a:noAutofit/>
          </a:bodyPr>
          <a:lstStyle/>
          <a:p>
            <a:pPr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rgbClr val="00D318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00D318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b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00D318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8040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490929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02544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PT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00CEFF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00CEFF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b" anchorCtr="0">
            <a:noAutofit/>
          </a:bodyPr>
          <a:lstStyle/>
          <a:p>
            <a:pPr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rgbClr val="00CEFF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00CEFF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b" anchorCtr="0">
            <a:noAutofit/>
          </a:bodyPr>
          <a:lstStyle>
            <a:lvl1pPr marL="0" indent="0">
              <a:buNone/>
              <a:defRPr lang="en-US" sz="2100" dirty="0">
                <a:solidFill>
                  <a:srgbClr val="00CEFF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6072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026445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5922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747214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583262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240434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896539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858019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97821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695372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171380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096932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9377234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3604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715738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030247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410062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5416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535999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212481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8027119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065173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198868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988161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8554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14390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523737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199038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985219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4666888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4609422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4144297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652849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6031641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875361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2118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726975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5237129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6161814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958720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630900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877140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5773490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62721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0040283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7883538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144444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17683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0446249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telling: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7278144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9703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631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1478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7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08" name="Picture 736" descr="http://interativa/data/interativa/arquivos/assinatura_email/logos/OIOI.0004.008.AF.160105.Logomarca_RGB_Laranja_2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9226" y="12723"/>
            <a:ext cx="815863" cy="576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06544" y="4999500"/>
            <a:ext cx="837456" cy="144000"/>
          </a:xfrm>
          <a:prstGeom prst="rect">
            <a:avLst/>
          </a:prstGeom>
        </p:spPr>
        <p:txBody>
          <a:bodyPr lIns="0" tIns="0" rIns="71959" bIns="0" anchor="ctr" anchorCtr="0"/>
          <a:lstStyle>
            <a:lvl1pPr algn="r">
              <a:lnSpc>
                <a:spcPct val="80000"/>
              </a:lnSpc>
              <a:defRPr sz="800">
                <a:solidFill>
                  <a:schemeClr val="accent2"/>
                </a:solidFill>
                <a:latin typeface="Simplon Oi Headline" pitchFamily="50" charset="0"/>
                <a:cs typeface="Arial"/>
              </a:defRPr>
            </a:lvl1pPr>
          </a:lstStyle>
          <a:p>
            <a:pPr defTabSz="456929"/>
            <a:fld id="{34F21757-CAEC-9B46-BA5E-8BB41E742229}" type="slidenum">
              <a:rPr lang="en-US" smtClean="0">
                <a:solidFill>
                  <a:srgbClr val="4D4D4D"/>
                </a:solidFill>
              </a:rPr>
              <a:pPr defTabSz="456929"/>
              <a:t>‹nº›</a:t>
            </a:fld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177801" y="187101"/>
            <a:ext cx="7994600" cy="4320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000" b="0">
                <a:solidFill>
                  <a:schemeClr val="accent1"/>
                </a:solidFill>
                <a:latin typeface="Simplon Oi Headline" pitchFamily="50" charset="0"/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40772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8982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742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57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"/>
          <p:cNvSpPr txBox="1">
            <a:spLocks/>
          </p:cNvSpPr>
          <p:nvPr userDrawn="1"/>
        </p:nvSpPr>
        <p:spPr bwMode="auto">
          <a:xfrm>
            <a:off x="8828749" y="4932660"/>
            <a:ext cx="46037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543D946-5134-1748-A050-11636790511E}" type="slidenum">
              <a:rPr lang="en-US" sz="1100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hangingPunct="1"/>
              <a:t>‹nº›</a:t>
            </a:fld>
            <a:endParaRPr lang="en-US" sz="1100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CaixaDeTexto 16"/>
          <p:cNvSpPr txBox="1"/>
          <p:nvPr userDrawn="1"/>
        </p:nvSpPr>
        <p:spPr>
          <a:xfrm>
            <a:off x="272955" y="322263"/>
            <a:ext cx="253848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7189">
              <a:lnSpc>
                <a:spcPts val="1800"/>
              </a:lnSpc>
              <a:spcBef>
                <a:spcPts val="800"/>
              </a:spcBef>
            </a:pPr>
            <a:endParaRPr lang="pt-BR" sz="2000" i="1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 hasCustomPrompt="1"/>
            <p:custDataLst>
              <p:tags r:id="rId1"/>
            </p:custDataLst>
          </p:nvPr>
        </p:nvSpPr>
        <p:spPr bwMode="auto">
          <a:xfrm>
            <a:off x="177696" y="26300"/>
            <a:ext cx="8267700" cy="28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8444" tIns="29222" rIns="58444" bIns="29222" numCol="1" anchor="ctr" anchorCtr="0" compatLnSpc="1">
            <a:prstTxWarp prst="textNoShape">
              <a:avLst/>
            </a:prstTxWarp>
          </a:bodyPr>
          <a:lstStyle>
            <a:lvl1pPr algn="l" defTabSz="793692" rtl="0" fontAlgn="base">
              <a:spcBef>
                <a:spcPct val="0"/>
              </a:spcBef>
              <a:spcAft>
                <a:spcPct val="0"/>
              </a:spcAft>
              <a:defRPr lang="pt-BR" sz="1300" b="1" i="0" kern="1200" dirty="0" smtClean="0">
                <a:solidFill>
                  <a:srgbClr val="A02BFF"/>
                </a:solidFill>
                <a:latin typeface="Simplon BP Bold" pitchFamily="2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dirty="0" smtClean="0"/>
              <a:t>CLIQUE PARA EDITAR O ESTILO DO TÍTULO MESTRE</a:t>
            </a:r>
          </a:p>
        </p:txBody>
      </p:sp>
      <p:sp>
        <p:nvSpPr>
          <p:cNvPr id="19" name="Espaço Reservado para Texto 9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177696" y="292920"/>
            <a:ext cx="8212962" cy="230832"/>
          </a:xfrm>
          <a:prstGeom prst="rect">
            <a:avLst/>
          </a:prstGeom>
        </p:spPr>
        <p:txBody>
          <a:bodyPr lIns="68580" tIns="34290" rIns="68580" bIns="34290"/>
          <a:lstStyle>
            <a:lvl1pPr marL="0" indent="0">
              <a:buNone/>
              <a:defRPr lang="pt-BR" sz="1500" b="0" kern="1200" baseline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353" indent="0">
              <a:buNone/>
              <a:defRPr/>
            </a:lvl2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pic>
        <p:nvPicPr>
          <p:cNvPr id="21" name="Picture 3" descr="C:\Users\oi200333\AppData\Local\Microsoft\Windows\Temporary Internet Files\Content.Outlook\A6QMUCU8\OIOI 0004 008 AF 160105 Logomarca_RGB_Roxo_1H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7593" y="4124"/>
            <a:ext cx="696769" cy="49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9920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9924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6"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66673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0980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85800"/>
            <a:fld id="{18D69630-9F0C-428C-9520-D4062C345707}" type="datetimeFigureOut">
              <a:rPr lang="pt-BR">
                <a:solidFill>
                  <a:prstClr val="black"/>
                </a:solidFill>
              </a:rPr>
              <a:pPr defTabSz="685800"/>
              <a:t>16/02/2018</a:t>
            </a:fld>
            <a:endParaRPr lang="pt-BR">
              <a:solidFill>
                <a:prstClr val="black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685800"/>
            <a:endParaRPr lang="pt-BR">
              <a:solidFill>
                <a:prstClr val="black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85800"/>
            <a:fld id="{CBCBB3E3-89EF-4BEB-9722-609BA5B45A0F}" type="slidenum">
              <a:rPr lang="pt-BR">
                <a:solidFill>
                  <a:prstClr val="black"/>
                </a:solidFill>
              </a:rPr>
              <a:pPr defTabSz="685800"/>
              <a:t>‹nº›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064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1858932"/>
      </p:ext>
    </p:extLst>
  </p:cSld>
  <p:clrMapOvr>
    <a:masterClrMapping/>
  </p:clrMapOvr>
  <p:transition advClick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38093DF8-25A9-4FFA-826A-1EB2C98EDE16}" type="datetimeFigureOut">
              <a:rPr lang="pt-BR" smtClean="0">
                <a:solidFill>
                  <a:prstClr val="black"/>
                </a:solidFill>
              </a:rPr>
              <a:pPr/>
              <a:t>16/02/2018</a:t>
            </a:fld>
            <a:endParaRPr lang="pt-BR">
              <a:solidFill>
                <a:prstClr val="black"/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BB6C62A-AF05-49AB-B7A3-AE87456F6283}" type="slidenum">
              <a:rPr lang="pt-BR" smtClean="0">
                <a:solidFill>
                  <a:prstClr val="black"/>
                </a:solidFill>
              </a:rPr>
              <a:pPr/>
              <a:t>‹nº›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44646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38093DF8-25A9-4FFA-826A-1EB2C98EDE16}" type="datetimeFigureOut">
              <a:rPr lang="pt-BR" smtClean="0">
                <a:solidFill>
                  <a:prstClr val="black"/>
                </a:solidFill>
              </a:rPr>
              <a:pPr/>
              <a:t>16/02/2018</a:t>
            </a:fld>
            <a:endParaRPr lang="pt-BR">
              <a:solidFill>
                <a:prstClr val="black"/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BB6C62A-AF05-49AB-B7A3-AE87456F6283}" type="slidenum">
              <a:rPr lang="pt-BR" smtClean="0">
                <a:solidFill>
                  <a:prstClr val="black"/>
                </a:solidFill>
              </a:rPr>
              <a:pPr/>
              <a:t>‹nº›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12795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a"/>
          <p:cNvSpPr>
            <a:spLocks noGrp="1"/>
          </p:cNvSpPr>
          <p:nvPr>
            <p:ph type="body" sz="quarter" idx="11" hasCustomPrompt="1"/>
          </p:nvPr>
        </p:nvSpPr>
        <p:spPr>
          <a:xfrm>
            <a:off x="578187" y="3585084"/>
            <a:ext cx="1257815" cy="2845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1400"/>
              </a:lnSpc>
              <a:spcBef>
                <a:spcPts val="600"/>
              </a:spcBef>
              <a:defRPr lang="en-US" sz="1000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pt-BR" dirty="0" smtClean="0"/>
              <a:t>dd/mm/aa</a:t>
            </a:r>
            <a:endParaRPr lang="en-US" dirty="0"/>
          </a:p>
        </p:txBody>
      </p:sp>
      <p:sp>
        <p:nvSpPr>
          <p:cNvPr id="5" name="Subtítulo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6" y="2249804"/>
            <a:ext cx="3956865" cy="57546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pt-BR" sz="1800" baseline="0" noProof="0" smtClean="0"/>
            </a:lvl1pPr>
          </a:lstStyle>
          <a:p>
            <a:pPr lvl="0">
              <a:lnSpc>
                <a:spcPts val="2000"/>
              </a:lnSpc>
              <a:spcBef>
                <a:spcPts val="900"/>
              </a:spcBef>
            </a:pPr>
            <a:r>
              <a:rPr lang="pt-BR" noProof="0" dirty="0" smtClean="0"/>
              <a:t>Insira um subtítulo e/ou nome do cliente em até duas linhas</a:t>
            </a:r>
          </a:p>
        </p:txBody>
      </p:sp>
      <p:sp>
        <p:nvSpPr>
          <p:cNvPr id="13" name="Título"/>
          <p:cNvSpPr>
            <a:spLocks noGrp="1"/>
          </p:cNvSpPr>
          <p:nvPr>
            <p:ph type="ctrTitle" hasCustomPrompt="1"/>
          </p:nvPr>
        </p:nvSpPr>
        <p:spPr>
          <a:xfrm>
            <a:off x="576001" y="917937"/>
            <a:ext cx="3956864" cy="1241933"/>
          </a:xfrm>
          <a:prstGeom prst="rect">
            <a:avLst/>
          </a:prstGeom>
          <a:noFill/>
        </p:spPr>
        <p:txBody>
          <a:bodyPr lIns="0" tIns="0" rIns="0" bIns="0" anchor="b"/>
          <a:lstStyle>
            <a:lvl1pPr>
              <a:defRPr lang="pt-BR" sz="2800" i="1" noProof="0" dirty="0">
                <a:latin typeface="Georgia" pitchFamily="18" charset="0"/>
              </a:defRPr>
            </a:lvl1pPr>
          </a:lstStyle>
          <a:p>
            <a:pPr marL="0" lvl="0">
              <a:lnSpc>
                <a:spcPts val="3000"/>
              </a:lnSpc>
              <a:spcBef>
                <a:spcPts val="1400"/>
              </a:spcBef>
            </a:pPr>
            <a:r>
              <a:rPr lang="pt-BR" noProof="0" dirty="0" smtClean="0"/>
              <a:t>Insira o título do projeto</a:t>
            </a:r>
            <a:br>
              <a:rPr lang="pt-BR" noProof="0" dirty="0" smtClean="0"/>
            </a:br>
            <a:r>
              <a:rPr lang="pt-BR" noProof="0" dirty="0" smtClean="0"/>
              <a:t>em até duas linhas</a:t>
            </a:r>
            <a:endParaRPr lang="pt-BR" noProof="0" dirty="0"/>
          </a:p>
        </p:txBody>
      </p:sp>
    </p:spTree>
    <p:extLst>
      <p:ext uri="{BB962C8B-B14F-4D97-AF65-F5344CB8AC3E}">
        <p14:creationId xmlns:p14="http://schemas.microsoft.com/office/powerpoint/2010/main" val="1791189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dr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576000" y="915994"/>
            <a:ext cx="8002160" cy="3907609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ts val="2000"/>
              </a:lnSpc>
              <a:spcBef>
                <a:spcPts val="900"/>
              </a:spcBef>
              <a:spcAft>
                <a:spcPts val="0"/>
              </a:spcAft>
              <a:buNone/>
              <a:defRPr sz="1800" b="0" i="0">
                <a:latin typeface="Museo Sans 300"/>
                <a:cs typeface="Museo Sans 300"/>
              </a:defRPr>
            </a:lvl1pPr>
            <a:lvl2pPr marL="174625" indent="-169863">
              <a:lnSpc>
                <a:spcPts val="2000"/>
              </a:lnSpc>
              <a:spcBef>
                <a:spcPts val="900"/>
              </a:spcBef>
              <a:spcAft>
                <a:spcPts val="0"/>
              </a:spcAft>
              <a:buSzPct val="45000"/>
              <a:buFont typeface="Arial" pitchFamily="34" charset="0"/>
              <a:buChar char="•"/>
              <a:defRPr b="0" i="0" baseline="0">
                <a:latin typeface="Museo Sans 300"/>
                <a:cs typeface="Museo Sans 300"/>
              </a:defRPr>
            </a:lvl2pPr>
            <a:lvl3pPr marL="914400" indent="0">
              <a:lnSpc>
                <a:spcPts val="2200"/>
              </a:lnSpc>
              <a:spcBef>
                <a:spcPts val="0"/>
              </a:spcBef>
              <a:buNone/>
              <a:defRPr b="0" i="0">
                <a:latin typeface="Museo Sans 300"/>
                <a:cs typeface="Museo Sans 300"/>
              </a:defRPr>
            </a:lvl3pPr>
            <a:lvl4pPr marL="1371600" indent="0">
              <a:lnSpc>
                <a:spcPts val="2200"/>
              </a:lnSpc>
              <a:spcBef>
                <a:spcPts val="0"/>
              </a:spcBef>
              <a:buNone/>
              <a:defRPr b="0" i="0">
                <a:latin typeface="Museo Sans 300"/>
                <a:cs typeface="Museo Sans 300"/>
              </a:defRPr>
            </a:lvl4pPr>
            <a:lvl5pPr marL="1828800" indent="0">
              <a:lnSpc>
                <a:spcPts val="2200"/>
              </a:lnSpc>
              <a:spcBef>
                <a:spcPts val="0"/>
              </a:spcBef>
              <a:buNone/>
              <a:defRPr b="0" i="0">
                <a:latin typeface="Museo Sans 300"/>
                <a:cs typeface="Museo Sans 300"/>
              </a:defRPr>
            </a:lvl5pPr>
          </a:lstStyle>
          <a:p>
            <a:pPr lvl="0"/>
            <a:r>
              <a:rPr lang="pt-BR" noProof="0" dirty="0" smtClean="0"/>
              <a:t>Neste estilo você pode ter texto corrido.</a:t>
            </a:r>
          </a:p>
          <a:p>
            <a:pPr lvl="1"/>
            <a:r>
              <a:rPr lang="pt-BR" noProof="0" dirty="0" smtClean="0"/>
              <a:t>Também pode ter bullet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576002" y="322266"/>
            <a:ext cx="7992268" cy="32796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400"/>
              </a:lnSpc>
              <a:spcBef>
                <a:spcPts val="1100"/>
              </a:spcBef>
              <a:defRPr sz="2200" b="0" i="1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r>
              <a:rPr lang="pt-BR" noProof="0" dirty="0" smtClean="0"/>
              <a:t>Insira o título, sempre terminando com ponto final.</a:t>
            </a:r>
            <a:endParaRPr lang="pt-BR" noProof="0" dirty="0"/>
          </a:p>
        </p:txBody>
      </p:sp>
    </p:spTree>
    <p:extLst>
      <p:ext uri="{BB962C8B-B14F-4D97-AF65-F5344CB8AC3E}">
        <p14:creationId xmlns:p14="http://schemas.microsoft.com/office/powerpoint/2010/main" val="1456143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2" name="Straight Connector 91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322268"/>
            <a:ext cx="8002161" cy="32796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400"/>
              </a:lnSpc>
              <a:spcBef>
                <a:spcPts val="1100"/>
              </a:spcBef>
              <a:defRPr sz="2200" b="0" i="1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r>
              <a:rPr lang="pt-BR" noProof="0" dirty="0" smtClean="0"/>
              <a:t>Este estilo tem somente título.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1111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22801" y="917933"/>
            <a:ext cx="3955360" cy="3905665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2400"/>
              </a:lnSpc>
              <a:spcAft>
                <a:spcPts val="0"/>
              </a:spcAft>
              <a:defRPr lang="en-US" sz="2200" b="0" i="0" kern="1200" baseline="0" dirty="0" smtClean="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1pPr>
            <a:lvl2pPr marL="180000" indent="-182563">
              <a:lnSpc>
                <a:spcPts val="2000"/>
              </a:lnSpc>
              <a:spcAft>
                <a:spcPts val="0"/>
              </a:spcAft>
              <a:buFont typeface="Arial"/>
              <a:buChar char="•"/>
              <a:defRPr sz="1800" b="0" i="0" baseline="0">
                <a:latin typeface="Museo Sans 300"/>
                <a:cs typeface="Museo Sans 300"/>
              </a:defRPr>
            </a:lvl2pPr>
          </a:lstStyle>
          <a:p>
            <a:pPr lvl="0"/>
            <a:r>
              <a:rPr lang="pt-BR" noProof="0" dirty="0" smtClean="0"/>
              <a:t>Escreva as etapas</a:t>
            </a:r>
          </a:p>
          <a:p>
            <a:pPr lvl="1"/>
            <a:r>
              <a:rPr lang="pt-BR" noProof="0" dirty="0" smtClean="0"/>
              <a:t>Se precisar pode ter sub etapa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76007" y="828004"/>
            <a:ext cx="3326863" cy="333283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lnSpc>
                <a:spcPts val="6800"/>
              </a:lnSpc>
              <a:spcBef>
                <a:spcPts val="3300"/>
              </a:spcBef>
              <a:defRPr sz="6600" b="0" i="1" baseline="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pt-BR" noProof="0" dirty="0" smtClean="0"/>
              <a:t>Agenda ou Sumário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490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88132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s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76000" y="322266"/>
            <a:ext cx="8002160" cy="3830596"/>
          </a:xfrm>
          <a:prstGeom prst="rect">
            <a:avLst/>
          </a:prstGeom>
          <a:noFill/>
        </p:spPr>
        <p:txBody>
          <a:bodyPr lIns="0" tIns="0" rIns="0" bIns="0" anchor="ctr" anchorCtr="0">
            <a:noAutofit/>
          </a:bodyPr>
          <a:lstStyle>
            <a:lvl1pPr>
              <a:lnSpc>
                <a:spcPts val="6800"/>
              </a:lnSpc>
              <a:spcBef>
                <a:spcPts val="3300"/>
              </a:spcBef>
              <a:spcAft>
                <a:spcPts val="0"/>
              </a:spcAft>
              <a:defRPr sz="6600" b="0" i="1" baseline="0">
                <a:latin typeface="Georgia"/>
                <a:cs typeface="Georgia"/>
              </a:defRPr>
            </a:lvl1pPr>
          </a:lstStyle>
          <a:p>
            <a:pPr lvl="0"/>
            <a:r>
              <a:rPr lang="pt-BR" noProof="0" dirty="0" smtClean="0"/>
              <a:t>Divisor. Se tiver pouco texto, aumente o tamanho da fonte.</a:t>
            </a:r>
            <a:br>
              <a:rPr lang="pt-BR" noProof="0" dirty="0" smtClean="0"/>
            </a:br>
            <a:r>
              <a:rPr lang="pt-BR" noProof="0" dirty="0" smtClean="0"/>
              <a:t>Utilize cor de fundo.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361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or +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76000" y="4535598"/>
            <a:ext cx="8002160" cy="365176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lnSpc>
                <a:spcPts val="2400"/>
              </a:lnSpc>
              <a:spcBef>
                <a:spcPts val="1100"/>
              </a:spcBef>
              <a:buNone/>
              <a:defRPr sz="2200" b="0" i="0" baseline="0">
                <a:latin typeface="Museo Sans 300"/>
                <a:cs typeface="Museo Sans 30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noProof="0" dirty="0" smtClean="0"/>
              <a:t>Insira um subtítulo ou legenda se precisar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6007" y="4432960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76000" y="322266"/>
            <a:ext cx="8002160" cy="3830596"/>
          </a:xfrm>
          <a:prstGeom prst="rect">
            <a:avLst/>
          </a:prstGeom>
          <a:noFill/>
        </p:spPr>
        <p:txBody>
          <a:bodyPr lIns="0" tIns="0" rIns="0" bIns="0" anchor="ctr" anchorCtr="0">
            <a:noAutofit/>
          </a:bodyPr>
          <a:lstStyle>
            <a:lvl1pPr>
              <a:lnSpc>
                <a:spcPts val="6800"/>
              </a:lnSpc>
              <a:spcBef>
                <a:spcPts val="3300"/>
              </a:spcBef>
              <a:spcAft>
                <a:spcPts val="0"/>
              </a:spcAft>
              <a:defRPr sz="6600" b="0" i="1" baseline="0">
                <a:latin typeface="Georgia"/>
                <a:cs typeface="Georgia"/>
              </a:defRPr>
            </a:lvl1pPr>
          </a:lstStyle>
          <a:p>
            <a:pPr lvl="0"/>
            <a:r>
              <a:rPr lang="pt-BR" noProof="0" dirty="0" smtClean="0"/>
              <a:t>Divisor. Se tiver pouco texto, aumente o tamanho da fonte.</a:t>
            </a:r>
            <a:br>
              <a:rPr lang="pt-BR" noProof="0" dirty="0" smtClean="0"/>
            </a:br>
            <a:r>
              <a:rPr lang="pt-BR" noProof="0" dirty="0" smtClean="0"/>
              <a:t>Utilize cor de fundo.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406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76000" y="917933"/>
            <a:ext cx="8002160" cy="3905665"/>
          </a:xfrm>
          <a:prstGeom prst="rect">
            <a:avLst/>
          </a:prstGeom>
          <a:noFill/>
        </p:spPr>
        <p:txBody>
          <a:bodyPr tIns="0"/>
          <a:lstStyle>
            <a:lvl1pPr marL="0" indent="0">
              <a:lnSpc>
                <a:spcPts val="4000"/>
              </a:lnSpc>
              <a:spcBef>
                <a:spcPts val="1900"/>
              </a:spcBef>
              <a:buNone/>
              <a:defRPr sz="3800" b="0" i="1" baseline="0">
                <a:latin typeface="Georgia"/>
                <a:cs typeface="Georgia"/>
              </a:defRPr>
            </a:lvl1pPr>
            <a:lvl2pPr>
              <a:defRPr sz="4000" i="1">
                <a:latin typeface="Chronicle Text G1"/>
                <a:cs typeface="Chronicle Text G1"/>
              </a:defRPr>
            </a:lvl2pPr>
            <a:lvl3pPr>
              <a:defRPr sz="4000" i="1">
                <a:latin typeface="Chronicle Text G1"/>
                <a:cs typeface="Chronicle Text G1"/>
              </a:defRPr>
            </a:lvl3pPr>
            <a:lvl4pPr>
              <a:defRPr sz="4000" i="1">
                <a:latin typeface="Chronicle Text G1"/>
                <a:cs typeface="Chronicle Text G1"/>
              </a:defRPr>
            </a:lvl4pPr>
            <a:lvl5pPr>
              <a:defRPr sz="4000" i="1">
                <a:latin typeface="Chronicle Text G1"/>
                <a:cs typeface="Chronicle Text G1"/>
              </a:defRPr>
            </a:lvl5pPr>
          </a:lstStyle>
          <a:p>
            <a:pPr lvl="0"/>
            <a:r>
              <a:rPr lang="pt-BR" noProof="0" dirty="0" smtClean="0"/>
              <a:t>Insira um texto que dê enfoque a uma ideia. Este slide não deve ter bullets. Ajuste o tamanho do texto  para ficar proporcional – pode aumentar um pouco se for menos texto (e ajuste o espaçamento de entrelinha e parágrafo).</a:t>
            </a:r>
          </a:p>
        </p:txBody>
      </p:sp>
      <p:cxnSp>
        <p:nvCxnSpPr>
          <p:cNvPr id="54" name="Straight Connector 53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324001"/>
            <a:ext cx="8002161" cy="32622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000"/>
              </a:lnSpc>
              <a:spcBef>
                <a:spcPts val="900"/>
              </a:spcBef>
              <a:defRPr sz="1800" b="0" i="0" baseline="0">
                <a:solidFill>
                  <a:schemeClr val="tx1"/>
                </a:solidFill>
                <a:latin typeface="+mj-lt"/>
                <a:cs typeface="Museo Sans 700" pitchFamily="50" charset="0"/>
              </a:defRPr>
            </a:lvl1pPr>
          </a:lstStyle>
          <a:p>
            <a:r>
              <a:rPr lang="pt-BR" noProof="0" dirty="0" smtClean="0"/>
              <a:t>Header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8970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taque gde + colu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1" hasCustomPrompt="1"/>
          </p:nvPr>
        </p:nvSpPr>
        <p:spPr>
          <a:xfrm>
            <a:off x="5969729" y="917933"/>
            <a:ext cx="2608432" cy="3905665"/>
          </a:xfrm>
          <a:prstGeom prst="rect">
            <a:avLst/>
          </a:prstGeom>
          <a:noFill/>
        </p:spPr>
        <p:txBody>
          <a:bodyPr tIns="0"/>
          <a:lstStyle>
            <a:lvl1pPr marL="0" indent="0">
              <a:lnSpc>
                <a:spcPts val="1600"/>
              </a:lnSpc>
              <a:spcBef>
                <a:spcPts val="700"/>
              </a:spcBef>
              <a:buFont typeface="+mj-lt"/>
              <a:buNone/>
              <a:defRPr sz="1400" b="0" i="0" baseline="0">
                <a:latin typeface="Museo Sans 300"/>
                <a:cs typeface="Museo Sans 300"/>
              </a:defRPr>
            </a:lvl1pPr>
            <a:lvl2pPr marL="800100" indent="-342900">
              <a:lnSpc>
                <a:spcPts val="1600"/>
              </a:lnSpc>
              <a:spcBef>
                <a:spcPts val="0"/>
              </a:spcBef>
              <a:buFont typeface="+mj-lt"/>
              <a:buAutoNum type="arabicPeriod"/>
              <a:defRPr sz="1400" b="0" i="0">
                <a:latin typeface="Museo Sans 300"/>
                <a:cs typeface="Museo Sans 300"/>
              </a:defRPr>
            </a:lvl2pPr>
            <a:lvl3pPr marL="1257300" indent="-342900">
              <a:lnSpc>
                <a:spcPts val="1600"/>
              </a:lnSpc>
              <a:spcBef>
                <a:spcPts val="0"/>
              </a:spcBef>
              <a:buFont typeface="+mj-lt"/>
              <a:buAutoNum type="arabicPeriod"/>
              <a:defRPr sz="1400" b="0" i="0">
                <a:latin typeface="Museo Sans 300"/>
                <a:cs typeface="Museo Sans 300"/>
              </a:defRPr>
            </a:lvl3pPr>
            <a:lvl4pPr marL="1714500" indent="-342900">
              <a:lnSpc>
                <a:spcPts val="1600"/>
              </a:lnSpc>
              <a:spcBef>
                <a:spcPts val="0"/>
              </a:spcBef>
              <a:buFont typeface="+mj-lt"/>
              <a:buAutoNum type="arabicPeriod"/>
              <a:defRPr sz="1400" b="0" i="0">
                <a:latin typeface="Museo Sans 300"/>
                <a:cs typeface="Museo Sans 300"/>
              </a:defRPr>
            </a:lvl4pPr>
            <a:lvl5pPr marL="2171700" indent="-342900">
              <a:lnSpc>
                <a:spcPts val="1600"/>
              </a:lnSpc>
              <a:spcBef>
                <a:spcPts val="0"/>
              </a:spcBef>
              <a:buFont typeface="+mj-lt"/>
              <a:buAutoNum type="arabicPeriod"/>
              <a:defRPr sz="1400" b="0" i="0">
                <a:latin typeface="Museo Sans 300"/>
                <a:cs typeface="Museo Sans 300"/>
              </a:defRPr>
            </a:lvl5pPr>
          </a:lstStyle>
          <a:p>
            <a:pPr lvl="0"/>
            <a:r>
              <a:rPr lang="pt-BR" noProof="0" dirty="0" smtClean="0"/>
              <a:t>Insira o texto relacionado ao destaque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969735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76001" y="739162"/>
            <a:ext cx="3956864" cy="4084436"/>
          </a:xfrm>
          <a:prstGeom prst="rect">
            <a:avLst/>
          </a:prstGeom>
          <a:noFill/>
        </p:spPr>
        <p:txBody>
          <a:bodyPr lIns="0" tIns="0" rIns="0" bIns="0" anchor="t">
            <a:noAutofit/>
          </a:bodyPr>
          <a:lstStyle>
            <a:lvl1pPr>
              <a:lnSpc>
                <a:spcPts val="5000"/>
              </a:lnSpc>
              <a:spcBef>
                <a:spcPts val="2400"/>
              </a:spcBef>
              <a:defRPr sz="4800" b="0" i="1" baseline="0">
                <a:latin typeface="Georgia"/>
                <a:cs typeface="Georgia"/>
              </a:defRPr>
            </a:lvl1pPr>
          </a:lstStyle>
          <a:p>
            <a:pPr lvl="0"/>
            <a:r>
              <a:rPr lang="pt-BR" noProof="0" dirty="0" smtClean="0"/>
              <a:t>Insira o texto de destaque.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872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lho + img 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02865" y="917933"/>
            <a:ext cx="4675296" cy="3905665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ts val="1800"/>
              </a:lnSpc>
              <a:spcBef>
                <a:spcPts val="800"/>
              </a:spcBef>
              <a:spcAft>
                <a:spcPts val="0"/>
              </a:spcAft>
              <a:buNone/>
              <a:defRPr sz="1600" b="0" i="0" baseline="0">
                <a:latin typeface="Museo Sans 300"/>
                <a:cs typeface="Museo Sans 300"/>
              </a:defRPr>
            </a:lvl1pPr>
            <a:lvl2pPr marL="92075" indent="-87313">
              <a:lnSpc>
                <a:spcPts val="1400"/>
              </a:lnSpc>
              <a:spcAft>
                <a:spcPts val="600"/>
              </a:spcAft>
              <a:buSzPct val="50000"/>
              <a:buFont typeface="Arial" pitchFamily="34" charset="0"/>
              <a:buChar char="•"/>
              <a:defRPr sz="1200" b="0" i="0">
                <a:latin typeface="Museo Sans 300"/>
                <a:cs typeface="Museo Sans 300"/>
              </a:defRPr>
            </a:lvl2pPr>
            <a:lvl3pPr marL="9144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3pPr>
            <a:lvl4pPr marL="13716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4pPr>
            <a:lvl5pPr marL="18288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5pPr>
          </a:lstStyle>
          <a:p>
            <a:pPr lvl="0"/>
            <a:r>
              <a:rPr lang="pt-BR" noProof="0" dirty="0" smtClean="0"/>
              <a:t>Insira o texto, imagem, tabela, gráfico, relacionado ou destaqu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6001" y="917934"/>
            <a:ext cx="2610115" cy="1907866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2400"/>
              </a:lnSpc>
              <a:spcBef>
                <a:spcPts val="1100"/>
              </a:spcBef>
              <a:defRPr sz="2200" i="1" baseline="0">
                <a:latin typeface="Georgia"/>
                <a:cs typeface="Georgia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noProof="0" dirty="0" smtClean="0"/>
              <a:t>Insira o texto de destaque.</a:t>
            </a:r>
            <a:endParaRPr lang="pt-BR" noProof="0" dirty="0"/>
          </a:p>
        </p:txBody>
      </p:sp>
      <p:cxnSp>
        <p:nvCxnSpPr>
          <p:cNvPr id="57" name="Straight Connector 56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324001"/>
            <a:ext cx="8002161" cy="32622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/>
          <a:lstStyle>
            <a:lvl1pPr>
              <a:lnSpc>
                <a:spcPts val="2000"/>
              </a:lnSpc>
              <a:spcBef>
                <a:spcPts val="900"/>
              </a:spcBef>
              <a:defRPr sz="1800" b="0" i="0">
                <a:solidFill>
                  <a:schemeClr val="tx1"/>
                </a:solidFill>
                <a:latin typeface="+mj-lt"/>
                <a:cs typeface="Museo Sans 700" pitchFamily="50" charset="0"/>
              </a:defRPr>
            </a:lvl1pPr>
          </a:lstStyle>
          <a:p>
            <a:r>
              <a:rPr lang="pt-BR" noProof="0" dirty="0" smtClean="0"/>
              <a:t>Header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5128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lho + img v gd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02865" y="917933"/>
            <a:ext cx="4675296" cy="3905665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ts val="1800"/>
              </a:lnSpc>
              <a:spcBef>
                <a:spcPts val="800"/>
              </a:spcBef>
              <a:spcAft>
                <a:spcPts val="0"/>
              </a:spcAft>
              <a:buNone/>
              <a:defRPr sz="1600" b="0" i="0" baseline="0">
                <a:latin typeface="Museo Sans 300"/>
                <a:cs typeface="Museo Sans 300"/>
              </a:defRPr>
            </a:lvl1pPr>
            <a:lvl2pPr marL="92075" indent="-87313">
              <a:lnSpc>
                <a:spcPts val="1400"/>
              </a:lnSpc>
              <a:spcAft>
                <a:spcPts val="600"/>
              </a:spcAft>
              <a:buSzPct val="50000"/>
              <a:buFont typeface="Arial" pitchFamily="34" charset="0"/>
              <a:buChar char="•"/>
              <a:defRPr sz="1200" b="0" i="0">
                <a:latin typeface="Museo Sans 300"/>
                <a:cs typeface="Museo Sans 300"/>
              </a:defRPr>
            </a:lvl2pPr>
            <a:lvl3pPr marL="9144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3pPr>
            <a:lvl4pPr marL="13716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4pPr>
            <a:lvl5pPr marL="18288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5pPr>
          </a:lstStyle>
          <a:p>
            <a:pPr lvl="0"/>
            <a:r>
              <a:rPr lang="pt-BR" noProof="0" dirty="0" smtClean="0"/>
              <a:t>Insira o texto, imagem, tabela, gráfico, relacionado ou destaqu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997" y="2915736"/>
            <a:ext cx="2610115" cy="190786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defRPr lang="en-US" sz="1600" baseline="0" dirty="0"/>
            </a:lvl1pPr>
          </a:lstStyle>
          <a:p>
            <a:pPr lvl="0">
              <a:lnSpc>
                <a:spcPts val="1800"/>
              </a:lnSpc>
              <a:spcBef>
                <a:spcPts val="800"/>
              </a:spcBef>
              <a:spcAft>
                <a:spcPts val="0"/>
              </a:spcAft>
            </a:pPr>
            <a:r>
              <a:rPr lang="pt-BR" noProof="0" dirty="0" smtClean="0"/>
              <a:t>Insira o texto.</a:t>
            </a:r>
            <a:endParaRPr lang="pt-BR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997" y="917934"/>
            <a:ext cx="2610115" cy="1907866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2400"/>
              </a:lnSpc>
              <a:spcBef>
                <a:spcPts val="1100"/>
              </a:spcBef>
              <a:defRPr sz="2200" i="1" baseline="0">
                <a:latin typeface="Georgia"/>
                <a:cs typeface="Georgia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noProof="0" dirty="0" smtClean="0"/>
              <a:t>Insira o texto de destaque.</a:t>
            </a:r>
            <a:endParaRPr lang="pt-BR" noProof="0" dirty="0"/>
          </a:p>
        </p:txBody>
      </p:sp>
      <p:cxnSp>
        <p:nvCxnSpPr>
          <p:cNvPr id="59" name="Straight Connector 58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324001"/>
            <a:ext cx="8002161" cy="32622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000"/>
              </a:lnSpc>
              <a:spcBef>
                <a:spcPts val="900"/>
              </a:spcBef>
              <a:defRPr sz="1800" b="0" i="0">
                <a:solidFill>
                  <a:schemeClr val="tx1"/>
                </a:solidFill>
                <a:latin typeface="+mj-lt"/>
                <a:cs typeface="Museo Sans 700" pitchFamily="50" charset="0"/>
              </a:defRPr>
            </a:lvl1pPr>
          </a:lstStyle>
          <a:p>
            <a:r>
              <a:rPr lang="pt-BR" noProof="0" dirty="0" smtClean="0"/>
              <a:t>Header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9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576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lho + img v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"/>
          <p:cNvSpPr>
            <a:spLocks noGrp="1"/>
          </p:cNvSpPr>
          <p:nvPr>
            <p:ph idx="18" hasCustomPrompt="1"/>
          </p:nvPr>
        </p:nvSpPr>
        <p:spPr>
          <a:xfrm>
            <a:off x="5252807" y="917933"/>
            <a:ext cx="3325359" cy="3905664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1800"/>
              </a:lnSpc>
              <a:spcBef>
                <a:spcPts val="800"/>
              </a:spcBef>
              <a:defRPr sz="1600" baseline="0"/>
            </a:lvl1pPr>
          </a:lstStyle>
          <a:p>
            <a:r>
              <a:rPr lang="pt-BR" dirty="0" smtClean="0"/>
              <a:t>Inserir imagem</a:t>
            </a:r>
            <a:endParaRPr lang="en-US" dirty="0"/>
          </a:p>
        </p:txBody>
      </p:sp>
      <p:sp>
        <p:nvSpPr>
          <p:cNvPr id="14" name="Content Placeholder 1"/>
          <p:cNvSpPr>
            <a:spLocks noGrp="1"/>
          </p:cNvSpPr>
          <p:nvPr>
            <p:ph idx="1" hasCustomPrompt="1"/>
          </p:nvPr>
        </p:nvSpPr>
        <p:spPr>
          <a:xfrm>
            <a:off x="576003" y="2915733"/>
            <a:ext cx="3961079" cy="1907866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1800"/>
              </a:lnSpc>
              <a:spcBef>
                <a:spcPts val="800"/>
              </a:spcBef>
              <a:defRPr sz="1600" baseline="0"/>
            </a:lvl1pPr>
          </a:lstStyle>
          <a:p>
            <a:r>
              <a:rPr lang="pt-BR" dirty="0" smtClean="0"/>
              <a:t>Insira o texto.</a:t>
            </a:r>
            <a:endParaRPr lang="en-US" dirty="0"/>
          </a:p>
        </p:txBody>
      </p:sp>
      <p:sp>
        <p:nvSpPr>
          <p:cNvPr id="15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999" y="917937"/>
            <a:ext cx="3961079" cy="1907865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2400"/>
              </a:lnSpc>
              <a:spcBef>
                <a:spcPts val="1100"/>
              </a:spcBef>
              <a:defRPr sz="2200" i="1">
                <a:latin typeface="Georgia"/>
                <a:cs typeface="Georgia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noProof="0" dirty="0" smtClean="0"/>
              <a:t>Insira o texto de destaque.</a:t>
            </a:r>
            <a:endParaRPr lang="pt-BR" noProof="0" dirty="0"/>
          </a:p>
        </p:txBody>
      </p:sp>
      <p:cxnSp>
        <p:nvCxnSpPr>
          <p:cNvPr id="60" name="Straight Connector 59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324001"/>
            <a:ext cx="8002161" cy="32622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000"/>
              </a:lnSpc>
              <a:spcBef>
                <a:spcPts val="900"/>
              </a:spcBef>
              <a:defRPr sz="1800" b="0" i="0">
                <a:solidFill>
                  <a:schemeClr val="tx1"/>
                </a:solidFill>
                <a:latin typeface="+mj-lt"/>
                <a:cs typeface="Museo Sans 700" pitchFamily="50" charset="0"/>
              </a:defRPr>
            </a:lvl1pPr>
          </a:lstStyle>
          <a:p>
            <a:r>
              <a:rPr lang="pt-BR" noProof="0" dirty="0" smtClean="0"/>
              <a:t>Header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9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7467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lho +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969730" y="917933"/>
            <a:ext cx="2608433" cy="3905665"/>
          </a:xfrm>
          <a:prstGeom prst="rect">
            <a:avLst/>
          </a:prstGeom>
          <a:noFill/>
        </p:spPr>
        <p:txBody>
          <a:bodyPr lIns="36000" rIns="36000" bIns="0"/>
          <a:lstStyle>
            <a:lvl1pPr marL="0" indent="0">
              <a:lnSpc>
                <a:spcPts val="1600"/>
              </a:lnSpc>
              <a:spcBef>
                <a:spcPts val="700"/>
              </a:spcBef>
              <a:spcAft>
                <a:spcPts val="0"/>
              </a:spcAft>
              <a:buNone/>
              <a:defRPr sz="1400" b="0" i="0">
                <a:latin typeface="Museo Sans 300"/>
                <a:cs typeface="Museo Sans 300"/>
              </a:defRPr>
            </a:lvl1pPr>
            <a:lvl2pPr marL="176212" indent="-171450">
              <a:lnSpc>
                <a:spcPts val="1400"/>
              </a:lnSpc>
              <a:spcAft>
                <a:spcPts val="600"/>
              </a:spcAft>
              <a:buNone/>
              <a:tabLst>
                <a:tab pos="0" algn="l"/>
              </a:tabLst>
              <a:defRPr lang="en-US" sz="1200" b="0" i="0" kern="1200" dirty="0" smtClean="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3pPr>
            <a:lvl4pPr marL="13716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4pPr>
            <a:lvl5pPr marL="18288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5pPr>
          </a:lstStyle>
          <a:p>
            <a:pPr lvl="0"/>
            <a:r>
              <a:rPr lang="pt-BR" noProof="0" dirty="0" smtClean="0"/>
              <a:t>Insira o texto, imagem, tabela, gráfico, relacionado ou destaqu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272871" y="917883"/>
            <a:ext cx="2608431" cy="3903514"/>
          </a:xfrm>
          <a:prstGeom prst="rect">
            <a:avLst/>
          </a:prstGeom>
          <a:noFill/>
        </p:spPr>
        <p:txBody>
          <a:bodyPr lIns="36000" rIns="36000" bIns="0"/>
          <a:lstStyle>
            <a:lvl1pPr marL="0" indent="0">
              <a:lnSpc>
                <a:spcPts val="1600"/>
              </a:lnSpc>
              <a:spcBef>
                <a:spcPts val="700"/>
              </a:spcBef>
              <a:spcAft>
                <a:spcPts val="0"/>
              </a:spcAft>
              <a:buNone/>
              <a:defRPr sz="1400" b="0" i="0">
                <a:latin typeface="Museo Sans 300"/>
                <a:cs typeface="Museo Sans 300"/>
              </a:defRPr>
            </a:lvl1pPr>
            <a:lvl2pPr marL="92075" indent="-87313">
              <a:lnSpc>
                <a:spcPts val="1400"/>
              </a:lnSpc>
              <a:spcAft>
                <a:spcPts val="600"/>
              </a:spcAft>
              <a:buSzPct val="50000"/>
              <a:buFont typeface="Arial" pitchFamily="34" charset="0"/>
              <a:buChar char="•"/>
              <a:defRPr sz="1200" b="0" i="0">
                <a:latin typeface="Museo Sans 300"/>
                <a:cs typeface="Museo Sans 300"/>
              </a:defRPr>
            </a:lvl2pPr>
            <a:lvl3pPr marL="9144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3pPr>
            <a:lvl4pPr marL="13716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4pPr>
            <a:lvl5pPr marL="1828800" indent="0">
              <a:lnSpc>
                <a:spcPts val="1400"/>
              </a:lnSpc>
              <a:spcAft>
                <a:spcPts val="600"/>
              </a:spcAft>
              <a:buNone/>
              <a:defRPr sz="1200" b="0" i="0">
                <a:latin typeface="Museo Sans 300"/>
                <a:cs typeface="Museo Sans 300"/>
              </a:defRPr>
            </a:lvl5pPr>
          </a:lstStyle>
          <a:p>
            <a:pPr lvl="0"/>
            <a:r>
              <a:rPr lang="pt-BR" noProof="0" dirty="0" smtClean="0"/>
              <a:t>Insira o texto, imagem, tabela, gráfico, relacionado ou destaque</a:t>
            </a: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6001" y="917937"/>
            <a:ext cx="2610115" cy="1907865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2400"/>
              </a:lnSpc>
              <a:spcBef>
                <a:spcPts val="1100"/>
              </a:spcBef>
              <a:defRPr sz="2200" i="1">
                <a:latin typeface="Georgia"/>
                <a:cs typeface="Georgia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noProof="0" dirty="0" smtClean="0"/>
              <a:t>Insira o texto de destaque.</a:t>
            </a:r>
            <a:endParaRPr lang="pt-BR" noProof="0" dirty="0"/>
          </a:p>
        </p:txBody>
      </p:sp>
      <p:cxnSp>
        <p:nvCxnSpPr>
          <p:cNvPr id="58" name="Straight Connector 57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324001"/>
            <a:ext cx="8002161" cy="32622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000"/>
              </a:lnSpc>
              <a:spcBef>
                <a:spcPts val="900"/>
              </a:spcBef>
              <a:defRPr sz="1800" b="0" i="0">
                <a:solidFill>
                  <a:schemeClr val="tx1"/>
                </a:solidFill>
                <a:latin typeface="+mj-lt"/>
                <a:cs typeface="Museo Sans 700" pitchFamily="50" charset="0"/>
              </a:defRPr>
            </a:lvl1pPr>
          </a:lstStyle>
          <a:p>
            <a:r>
              <a:rPr lang="pt-BR" noProof="0" dirty="0" smtClean="0"/>
              <a:t>Header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1953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lho + img h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"/>
          <p:cNvSpPr>
            <a:spLocks noGrp="1"/>
          </p:cNvSpPr>
          <p:nvPr>
            <p:ph idx="18" hasCustomPrompt="1"/>
          </p:nvPr>
        </p:nvSpPr>
        <p:spPr>
          <a:xfrm>
            <a:off x="5969728" y="2913789"/>
            <a:ext cx="2608432" cy="1909810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1800"/>
              </a:lnSpc>
              <a:spcBef>
                <a:spcPts val="800"/>
              </a:spcBef>
              <a:defRPr sz="1600" baseline="0"/>
            </a:lvl1pPr>
          </a:lstStyle>
          <a:p>
            <a:r>
              <a:rPr lang="pt-BR" dirty="0" smtClean="0"/>
              <a:t>Inserir texto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575997" y="2915736"/>
            <a:ext cx="4675299" cy="1907867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1800"/>
              </a:lnSpc>
              <a:spcBef>
                <a:spcPts val="800"/>
              </a:spcBef>
              <a:defRPr sz="1600"/>
            </a:lvl1pPr>
          </a:lstStyle>
          <a:p>
            <a:r>
              <a:rPr lang="pt-BR" noProof="0" dirty="0" smtClean="0"/>
              <a:t>Inserir imagem</a:t>
            </a:r>
            <a:endParaRPr lang="pt-BR" noProof="0" dirty="0"/>
          </a:p>
        </p:txBody>
      </p:sp>
      <p:sp>
        <p:nvSpPr>
          <p:cNvPr id="56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997" y="917937"/>
            <a:ext cx="4675299" cy="1907865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2400"/>
              </a:lnSpc>
              <a:spcBef>
                <a:spcPts val="1100"/>
              </a:spcBef>
              <a:defRPr sz="2200" i="1">
                <a:latin typeface="Georgia"/>
                <a:cs typeface="Georgia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noProof="0" dirty="0" smtClean="0"/>
              <a:t>Insira o texto de destaque.</a:t>
            </a:r>
            <a:endParaRPr lang="pt-BR" noProof="0" dirty="0"/>
          </a:p>
        </p:txBody>
      </p:sp>
      <p:cxnSp>
        <p:nvCxnSpPr>
          <p:cNvPr id="60" name="Straight Connector 59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324001"/>
            <a:ext cx="8002161" cy="32622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000"/>
              </a:lnSpc>
              <a:spcBef>
                <a:spcPts val="900"/>
              </a:spcBef>
              <a:defRPr sz="1800" b="0" i="0">
                <a:solidFill>
                  <a:schemeClr val="tx1"/>
                </a:solidFill>
                <a:latin typeface="+mj-lt"/>
                <a:cs typeface="Museo Sans 700" pitchFamily="50" charset="0"/>
              </a:defRPr>
            </a:lvl1pPr>
          </a:lstStyle>
          <a:p>
            <a:r>
              <a:rPr lang="pt-BR" noProof="0" dirty="0" smtClean="0"/>
              <a:t>Header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0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0523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lho + img h gd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575997" y="2915736"/>
            <a:ext cx="8002163" cy="1907867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1800"/>
              </a:lnSpc>
              <a:spcBef>
                <a:spcPts val="800"/>
              </a:spcBef>
              <a:defRPr sz="1600"/>
            </a:lvl1pPr>
          </a:lstStyle>
          <a:p>
            <a:r>
              <a:rPr lang="pt-BR" noProof="0" dirty="0" smtClean="0"/>
              <a:t>Inserir imagem</a:t>
            </a:r>
            <a:endParaRPr lang="pt-BR" noProof="0" dirty="0"/>
          </a:p>
        </p:txBody>
      </p:sp>
      <p:sp>
        <p:nvSpPr>
          <p:cNvPr id="19" name="Content Placeholder 1"/>
          <p:cNvSpPr>
            <a:spLocks noGrp="1"/>
          </p:cNvSpPr>
          <p:nvPr>
            <p:ph idx="18" hasCustomPrompt="1"/>
          </p:nvPr>
        </p:nvSpPr>
        <p:spPr>
          <a:xfrm>
            <a:off x="5251296" y="915990"/>
            <a:ext cx="3326864" cy="1909810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1800"/>
              </a:lnSpc>
              <a:spcBef>
                <a:spcPts val="800"/>
              </a:spcBef>
              <a:defRPr sz="1600" baseline="0"/>
            </a:lvl1pPr>
          </a:lstStyle>
          <a:p>
            <a:r>
              <a:rPr lang="pt-BR" dirty="0" smtClean="0"/>
              <a:t>Inserir texto</a:t>
            </a:r>
            <a:endParaRPr lang="en-US" dirty="0"/>
          </a:p>
        </p:txBody>
      </p:sp>
      <p:sp>
        <p:nvSpPr>
          <p:cNvPr id="56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999" y="917937"/>
            <a:ext cx="3961079" cy="1907865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2400"/>
              </a:lnSpc>
              <a:spcBef>
                <a:spcPts val="1100"/>
              </a:spcBef>
              <a:defRPr sz="2200" i="1">
                <a:latin typeface="Georgia"/>
                <a:cs typeface="Georgia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noProof="0" dirty="0" smtClean="0"/>
              <a:t>Insira o texto de destaque.</a:t>
            </a:r>
            <a:endParaRPr lang="pt-BR" noProof="0" dirty="0"/>
          </a:p>
        </p:txBody>
      </p:sp>
      <p:cxnSp>
        <p:nvCxnSpPr>
          <p:cNvPr id="60" name="Straight Connector 59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324001"/>
            <a:ext cx="8002161" cy="32622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000"/>
              </a:lnSpc>
              <a:spcBef>
                <a:spcPts val="900"/>
              </a:spcBef>
              <a:defRPr sz="1800" b="0" i="0">
                <a:solidFill>
                  <a:schemeClr val="tx1"/>
                </a:solidFill>
                <a:latin typeface="+mj-lt"/>
                <a:cs typeface="Museo Sans 700" pitchFamily="50" charset="0"/>
              </a:defRPr>
            </a:lvl1pPr>
          </a:lstStyle>
          <a:p>
            <a:r>
              <a:rPr lang="pt-BR" noProof="0" dirty="0" smtClean="0"/>
              <a:t>Header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0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6185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chemeClr val="accent1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chemeClr val="accent1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2100" dirty="0" smtClean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chemeClr val="accent1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69753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+ imagem peq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Picture Placeholder 6"/>
          <p:cNvSpPr>
            <a:spLocks noGrp="1"/>
          </p:cNvSpPr>
          <p:nvPr>
            <p:ph type="pic" sz="quarter" idx="25" hasCustomPrompt="1"/>
          </p:nvPr>
        </p:nvSpPr>
        <p:spPr>
          <a:xfrm>
            <a:off x="5969728" y="3203736"/>
            <a:ext cx="2608432" cy="1619865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8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3276601" y="3203736"/>
            <a:ext cx="2608432" cy="1619865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23" hasCustomPrompt="1"/>
          </p:nvPr>
        </p:nvSpPr>
        <p:spPr>
          <a:xfrm>
            <a:off x="576000" y="3203736"/>
            <a:ext cx="2608432" cy="1619865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5969728" y="1207188"/>
            <a:ext cx="2608432" cy="1618617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3276607" y="1207182"/>
            <a:ext cx="2604695" cy="1618618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0" name="Picture Placeholder 1"/>
          <p:cNvSpPr>
            <a:spLocks noGrp="1"/>
          </p:cNvSpPr>
          <p:nvPr>
            <p:ph type="pic" sz="quarter" idx="16" hasCustomPrompt="1"/>
          </p:nvPr>
        </p:nvSpPr>
        <p:spPr>
          <a:xfrm>
            <a:off x="575997" y="1207182"/>
            <a:ext cx="2608435" cy="1618618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cxnSp>
        <p:nvCxnSpPr>
          <p:cNvPr id="67" name="Straight Connector 66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324004"/>
            <a:ext cx="8002161" cy="3262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400"/>
              </a:lnSpc>
              <a:spcBef>
                <a:spcPts val="1100"/>
              </a:spcBef>
              <a:defRPr sz="2200" b="0" i="1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r>
              <a:rPr lang="pt-BR" noProof="0" dirty="0" smtClean="0"/>
              <a:t>Insira o título.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6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2243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s - 2 fileiras com titu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5969728" y="3581664"/>
            <a:ext cx="2608432" cy="1241934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3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3276607" y="3581664"/>
            <a:ext cx="2604695" cy="1241934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2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575997" y="3581664"/>
            <a:ext cx="2608435" cy="1241934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569815" y="3168329"/>
            <a:ext cx="8008351" cy="322584"/>
          </a:xfrm>
          <a:prstGeom prst="rect">
            <a:avLst/>
          </a:prstGeom>
          <a:noFill/>
        </p:spPr>
        <p:txBody>
          <a:bodyPr anchor="b"/>
          <a:lstStyle>
            <a:lvl1pPr marL="0" marR="0" indent="0" algn="l" defTabSz="457200" rtl="0" eaLnBrk="1" fontAlgn="auto" latinLnBrk="0" hangingPunct="1">
              <a:lnSpc>
                <a:spcPts val="24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200" i="1">
                <a:latin typeface="+mn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24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pt-BR" noProof="0" dirty="0" smtClean="0"/>
              <a:t>Insira um título para as imagens.</a:t>
            </a:r>
          </a:p>
        </p:txBody>
      </p:sp>
      <p:sp>
        <p:nvSpPr>
          <p:cNvPr id="70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5969728" y="1583865"/>
            <a:ext cx="2608432" cy="1241934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9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3276607" y="1583865"/>
            <a:ext cx="2604695" cy="1241934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575997" y="1583865"/>
            <a:ext cx="2608435" cy="1241934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569815" y="1171254"/>
            <a:ext cx="8008351" cy="322584"/>
          </a:xfrm>
          <a:prstGeom prst="rect">
            <a:avLst/>
          </a:prstGeom>
          <a:noFill/>
        </p:spPr>
        <p:txBody>
          <a:bodyPr anchor="b"/>
          <a:lstStyle>
            <a:lvl1pPr>
              <a:lnSpc>
                <a:spcPts val="2400"/>
              </a:lnSpc>
              <a:spcBef>
                <a:spcPts val="1100"/>
              </a:spcBef>
              <a:defRPr sz="2200" i="1" baseline="0">
                <a:latin typeface="+mn-lt"/>
              </a:defRPr>
            </a:lvl1pPr>
          </a:lstStyle>
          <a:p>
            <a:pPr lvl="0"/>
            <a:r>
              <a:rPr lang="pt-BR" noProof="0" dirty="0" smtClean="0"/>
              <a:t>Insira um título para as imagens.</a:t>
            </a:r>
            <a:endParaRPr lang="pt-BR" noProof="0" dirty="0"/>
          </a:p>
        </p:txBody>
      </p:sp>
      <p:cxnSp>
        <p:nvCxnSpPr>
          <p:cNvPr id="67" name="Straight Connector 66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324004"/>
            <a:ext cx="8002161" cy="3262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000"/>
              </a:lnSpc>
              <a:spcBef>
                <a:spcPts val="900"/>
              </a:spcBef>
              <a:defRPr sz="1800" b="0" i="0">
                <a:solidFill>
                  <a:schemeClr val="tx1"/>
                </a:solidFill>
                <a:latin typeface="+mj-lt"/>
                <a:cs typeface="Georgia"/>
              </a:defRPr>
            </a:lvl1pPr>
          </a:lstStyle>
          <a:p>
            <a:r>
              <a:rPr lang="pt-BR" noProof="0" dirty="0" smtClean="0"/>
              <a:t>Header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4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4850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ns +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7"/>
          <p:cNvSpPr>
            <a:spLocks noGrp="1"/>
          </p:cNvSpPr>
          <p:nvPr>
            <p:ph type="pic" sz="quarter" idx="25" hasCustomPrompt="1"/>
          </p:nvPr>
        </p:nvSpPr>
        <p:spPr>
          <a:xfrm>
            <a:off x="4625958" y="2915733"/>
            <a:ext cx="3952209" cy="1907866"/>
          </a:xfrm>
          <a:prstGeom prst="rect">
            <a:avLst/>
          </a:prstGeom>
          <a:noFill/>
        </p:spPr>
        <p:txBody>
          <a:bodyPr anchor="ctr"/>
          <a:lstStyle>
            <a:lvl1pPr marL="0" indent="0">
              <a:lnSpc>
                <a:spcPts val="1800"/>
              </a:lnSpc>
              <a:spcBef>
                <a:spcPts val="800"/>
              </a:spcBef>
              <a:buNone/>
              <a:defRPr sz="1600"/>
            </a:lvl1pPr>
          </a:lstStyle>
          <a:p>
            <a:r>
              <a:rPr lang="pt-BR" noProof="0" dirty="0" smtClean="0"/>
              <a:t>Insira imagem 2</a:t>
            </a:r>
            <a:endParaRPr lang="pt-BR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576004" y="2915733"/>
            <a:ext cx="3956315" cy="1907866"/>
          </a:xfrm>
          <a:prstGeom prst="rect">
            <a:avLst/>
          </a:prstGeom>
          <a:noFill/>
        </p:spPr>
        <p:txBody>
          <a:bodyPr anchor="ctr"/>
          <a:lstStyle>
            <a:lvl1pPr marL="0" marR="0" indent="0" algn="r" defTabSz="457200" rtl="0" eaLnBrk="1" fontAlgn="auto" latinLnBrk="0" hangingPunct="1">
              <a:lnSpc>
                <a:spcPts val="18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/>
            </a:lvl1pPr>
          </a:lstStyle>
          <a:p>
            <a:pPr lvl="0"/>
            <a:r>
              <a:rPr lang="pt-BR" noProof="0" smtClean="0"/>
              <a:t>Insira texto referente a imagem 2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4625949" y="917934"/>
            <a:ext cx="3952211" cy="1907866"/>
          </a:xfrm>
          <a:prstGeom prst="rect">
            <a:avLst/>
          </a:prstGeom>
          <a:noFill/>
        </p:spPr>
        <p:txBody>
          <a:bodyPr anchor="ctr"/>
          <a:lstStyle>
            <a:lvl1pPr>
              <a:lnSpc>
                <a:spcPts val="1800"/>
              </a:lnSpc>
              <a:spcBef>
                <a:spcPts val="800"/>
              </a:spcBef>
              <a:defRPr sz="1600" baseline="0"/>
            </a:lvl1pPr>
          </a:lstStyle>
          <a:p>
            <a:pPr lvl="0"/>
            <a:r>
              <a:rPr lang="pt-BR" noProof="0" smtClean="0"/>
              <a:t>Insira texto referente a imagem 1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576005" y="917934"/>
            <a:ext cx="3956313" cy="1907866"/>
          </a:xfrm>
          <a:prstGeom prst="rect">
            <a:avLst/>
          </a:prstGeom>
          <a:noFill/>
        </p:spPr>
        <p:txBody>
          <a:bodyPr anchor="ctr"/>
          <a:lstStyle>
            <a:lvl1pPr marL="0" indent="0" algn="r">
              <a:lnSpc>
                <a:spcPts val="1800"/>
              </a:lnSpc>
              <a:spcBef>
                <a:spcPts val="800"/>
              </a:spcBef>
              <a:buNone/>
              <a:defRPr sz="1600"/>
            </a:lvl1pPr>
          </a:lstStyle>
          <a:p>
            <a:r>
              <a:rPr lang="pt-BR" noProof="0" dirty="0" smtClean="0"/>
              <a:t> Insira imagem 1</a:t>
            </a:r>
            <a:endParaRPr lang="pt-BR" noProof="0" dirty="0"/>
          </a:p>
        </p:txBody>
      </p:sp>
      <p:cxnSp>
        <p:nvCxnSpPr>
          <p:cNvPr id="64" name="Straight Connector 63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324004"/>
            <a:ext cx="8002161" cy="3262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/>
          <a:lstStyle>
            <a:lvl1pPr>
              <a:lnSpc>
                <a:spcPts val="2400"/>
              </a:lnSpc>
              <a:spcBef>
                <a:spcPts val="1100"/>
              </a:spcBef>
              <a:defRPr sz="2200" b="0" i="1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r>
              <a:rPr lang="pt-BR" noProof="0" dirty="0" smtClean="0"/>
              <a:t>Insira o título.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8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363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Picture Placeholder 9"/>
          <p:cNvSpPr>
            <a:spLocks noGrp="1"/>
          </p:cNvSpPr>
          <p:nvPr>
            <p:ph type="pic" sz="quarter" idx="30" hasCustomPrompt="1"/>
          </p:nvPr>
        </p:nvSpPr>
        <p:spPr>
          <a:xfrm>
            <a:off x="5969728" y="3383597"/>
            <a:ext cx="2608432" cy="1440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7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3272864" y="3383597"/>
            <a:ext cx="2608432" cy="1440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1" name="Picture Placeholder 7"/>
          <p:cNvSpPr>
            <a:spLocks noGrp="1"/>
          </p:cNvSpPr>
          <p:nvPr>
            <p:ph type="pic" sz="quarter" idx="24" hasCustomPrompt="1"/>
          </p:nvPr>
        </p:nvSpPr>
        <p:spPr>
          <a:xfrm>
            <a:off x="576000" y="3383597"/>
            <a:ext cx="2608432" cy="1440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9" name="Picture Placeholder 6"/>
          <p:cNvSpPr>
            <a:spLocks noGrp="1"/>
          </p:cNvSpPr>
          <p:nvPr>
            <p:ph type="pic" sz="quarter" idx="29" hasCustomPrompt="1"/>
          </p:nvPr>
        </p:nvSpPr>
        <p:spPr>
          <a:xfrm>
            <a:off x="5969728" y="1853798"/>
            <a:ext cx="2608432" cy="1440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6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3272864" y="1853798"/>
            <a:ext cx="2608432" cy="1440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0" name="Picture Placeholder 4"/>
          <p:cNvSpPr>
            <a:spLocks noGrp="1"/>
          </p:cNvSpPr>
          <p:nvPr>
            <p:ph type="pic" sz="quarter" idx="23" hasCustomPrompt="1"/>
          </p:nvPr>
        </p:nvSpPr>
        <p:spPr>
          <a:xfrm>
            <a:off x="576000" y="1853798"/>
            <a:ext cx="2608432" cy="1440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8" name="Picture Placeholder 3"/>
          <p:cNvSpPr>
            <a:spLocks noGrp="1"/>
          </p:cNvSpPr>
          <p:nvPr>
            <p:ph type="pic" sz="quarter" idx="28" hasCustomPrompt="1"/>
          </p:nvPr>
        </p:nvSpPr>
        <p:spPr>
          <a:xfrm>
            <a:off x="5969728" y="323999"/>
            <a:ext cx="2608432" cy="1440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5" name="Picture Placeholder 2"/>
          <p:cNvSpPr>
            <a:spLocks noGrp="1"/>
          </p:cNvSpPr>
          <p:nvPr>
            <p:ph type="pic" sz="quarter" idx="25" hasCustomPrompt="1"/>
          </p:nvPr>
        </p:nvSpPr>
        <p:spPr>
          <a:xfrm>
            <a:off x="3272864" y="323999"/>
            <a:ext cx="2608432" cy="1440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8" name="Picture Placeholder 1"/>
          <p:cNvSpPr>
            <a:spLocks noGrp="1"/>
          </p:cNvSpPr>
          <p:nvPr>
            <p:ph type="pic" sz="quarter" idx="16" hasCustomPrompt="1"/>
          </p:nvPr>
        </p:nvSpPr>
        <p:spPr>
          <a:xfrm>
            <a:off x="576000" y="323999"/>
            <a:ext cx="2608432" cy="1440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780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1"/>
          <p:cNvSpPr>
            <a:spLocks noGrp="1"/>
          </p:cNvSpPr>
          <p:nvPr>
            <p:ph type="title" hasCustomPrompt="1"/>
          </p:nvPr>
        </p:nvSpPr>
        <p:spPr>
          <a:xfrm>
            <a:off x="576006" y="4247597"/>
            <a:ext cx="8002161" cy="576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>
              <a:lnSpc>
                <a:spcPts val="2400"/>
              </a:lnSpc>
              <a:spcBef>
                <a:spcPts val="1100"/>
              </a:spcBef>
              <a:defRPr sz="2200" b="0" i="1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r>
              <a:rPr lang="pt-BR" noProof="0" dirty="0" smtClean="0"/>
              <a:t>Insira a legenda da imagem.</a:t>
            </a:r>
            <a:endParaRPr lang="pt-BR" noProof="0" dirty="0"/>
          </a:p>
        </p:txBody>
      </p:sp>
      <p:sp>
        <p:nvSpPr>
          <p:cNvPr id="3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576000" y="324004"/>
            <a:ext cx="8002160" cy="3833665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pt-BR" noProof="0" dirty="0" smtClean="0"/>
              <a:t> Insira imagem</a:t>
            </a:r>
            <a:endParaRPr lang="pt-BR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4491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5969728" y="2919263"/>
            <a:ext cx="2608432" cy="1898316"/>
          </a:xfrm>
          <a:prstGeom prst="rect">
            <a:avLst/>
          </a:prstGeom>
          <a:noFill/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6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0"/>
            </a:lvl1pPr>
          </a:lstStyle>
          <a:p>
            <a:r>
              <a:rPr lang="pt-BR" noProof="0" dirty="0" smtClean="0"/>
              <a:t>Insira imagem.</a:t>
            </a:r>
          </a:p>
        </p:txBody>
      </p:sp>
      <p:sp>
        <p:nvSpPr>
          <p:cNvPr id="47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3272864" y="2915736"/>
            <a:ext cx="2608432" cy="190786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ts val="1600"/>
              </a:lnSpc>
              <a:spcBef>
                <a:spcPts val="700"/>
              </a:spcBef>
              <a:defRPr lang="en-US" sz="1400" baseline="0" dirty="0"/>
            </a:lvl1pPr>
          </a:lstStyle>
          <a:p>
            <a:pPr lvl="0">
              <a:lnSpc>
                <a:spcPts val="1800"/>
              </a:lnSpc>
              <a:spcBef>
                <a:spcPts val="800"/>
              </a:spcBef>
              <a:spcAft>
                <a:spcPts val="0"/>
              </a:spcAft>
            </a:pPr>
            <a:r>
              <a:rPr lang="pt-BR" noProof="0" dirty="0" smtClean="0"/>
              <a:t>Insira o texto.</a:t>
            </a:r>
            <a:endParaRPr lang="pt-BR" noProof="0" dirty="0"/>
          </a:p>
        </p:txBody>
      </p:sp>
      <p:sp>
        <p:nvSpPr>
          <p:cNvPr id="46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997" y="2915736"/>
            <a:ext cx="2608435" cy="190786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>
              <a:lnSpc>
                <a:spcPts val="1600"/>
              </a:lnSpc>
              <a:spcBef>
                <a:spcPts val="700"/>
              </a:spcBef>
              <a:defRPr lang="en-US" sz="1400" baseline="0" dirty="0"/>
            </a:lvl1pPr>
          </a:lstStyle>
          <a:p>
            <a:pPr lvl="0">
              <a:lnSpc>
                <a:spcPts val="1800"/>
              </a:lnSpc>
              <a:spcBef>
                <a:spcPts val="800"/>
              </a:spcBef>
              <a:spcAft>
                <a:spcPts val="0"/>
              </a:spcAft>
            </a:pPr>
            <a:r>
              <a:rPr lang="pt-BR" noProof="0" dirty="0" smtClean="0"/>
              <a:t>Insira o texto.</a:t>
            </a:r>
            <a:endParaRPr lang="pt-BR" noProof="0" dirty="0"/>
          </a:p>
        </p:txBody>
      </p:sp>
      <p:sp>
        <p:nvSpPr>
          <p:cNvPr id="4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5969728" y="917937"/>
            <a:ext cx="2608432" cy="1907865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ts val="1600"/>
              </a:lnSpc>
              <a:spcBef>
                <a:spcPts val="700"/>
              </a:spcBef>
              <a:buNone/>
              <a:defRPr sz="1400"/>
            </a:lvl1pPr>
          </a:lstStyle>
          <a:p>
            <a:r>
              <a:rPr lang="pt-BR" noProof="0" dirty="0" smtClean="0"/>
              <a:t> Insira imagem.</a:t>
            </a:r>
            <a:endParaRPr lang="pt-BR" noProof="0" dirty="0"/>
          </a:p>
        </p:txBody>
      </p:sp>
      <p:sp>
        <p:nvSpPr>
          <p:cNvPr id="45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997" y="917937"/>
            <a:ext cx="5305299" cy="1907865"/>
          </a:xfrm>
          <a:prstGeom prst="rect">
            <a:avLst/>
          </a:prstGeom>
          <a:noFill/>
        </p:spPr>
        <p:txBody>
          <a:bodyPr/>
          <a:lstStyle>
            <a:lvl1pPr>
              <a:lnSpc>
                <a:spcPts val="2400"/>
              </a:lnSpc>
              <a:spcBef>
                <a:spcPts val="1100"/>
              </a:spcBef>
              <a:defRPr sz="2200" i="1">
                <a:latin typeface="Georgia"/>
                <a:cs typeface="Georgia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noProof="0" dirty="0" smtClean="0"/>
              <a:t>Insira o texto de destaque.</a:t>
            </a:r>
            <a:endParaRPr lang="pt-BR" noProof="0" dirty="0"/>
          </a:p>
        </p:txBody>
      </p:sp>
      <p:cxnSp>
        <p:nvCxnSpPr>
          <p:cNvPr id="50" name="Straight Connector 49"/>
          <p:cNvCxnSpPr/>
          <p:nvPr userDrawn="1"/>
        </p:nvCxnSpPr>
        <p:spPr>
          <a:xfrm>
            <a:off x="576007" y="739161"/>
            <a:ext cx="469031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2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2713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3715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rigado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FB.20120903.Obrigado.Branc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21091"/>
            <a:ext cx="9144000" cy="2282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487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igado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B.20120903.Obrigado.Branc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21091"/>
            <a:ext cx="9144000" cy="2282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943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igad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FB_IMAGE_INK_PPT_RGB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9144001" cy="5143500"/>
          </a:xfrm>
          <a:prstGeom prst="rect">
            <a:avLst/>
          </a:prstGeom>
        </p:spPr>
      </p:pic>
      <p:pic>
        <p:nvPicPr>
          <p:cNvPr id="5" name="Picture 4" descr="FB.20120903.Obrigado.Branc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21091"/>
            <a:ext cx="9144000" cy="2282395"/>
          </a:xfrm>
          <a:prstGeom prst="rect">
            <a:avLst/>
          </a:prstGeom>
        </p:spPr>
      </p:pic>
      <p:sp>
        <p:nvSpPr>
          <p:cNvPr id="6" name="FutureBrand"/>
          <p:cNvSpPr/>
          <p:nvPr userDrawn="1"/>
        </p:nvSpPr>
        <p:spPr>
          <a:xfrm rot="16200000">
            <a:off x="8644231" y="4454349"/>
            <a:ext cx="634789" cy="10772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700" i="1" dirty="0" smtClean="0">
                <a:solidFill>
                  <a:prstClr val="black"/>
                </a:solidFill>
                <a:cs typeface="Georgia"/>
              </a:rPr>
              <a:t>© FutureBrand</a:t>
            </a:r>
            <a:endParaRPr lang="en-US" sz="700" i="1" dirty="0">
              <a:solidFill>
                <a:prstClr val="black"/>
              </a:solidFill>
              <a:cs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615364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7" Type="http://schemas.openxmlformats.org/officeDocument/2006/relationships/theme" Target="../theme/theme11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7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7" Type="http://schemas.openxmlformats.org/officeDocument/2006/relationships/theme" Target="../theme/theme1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5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3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5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9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5" Type="http://schemas.openxmlformats.org/officeDocument/2006/relationships/theme" Target="../theme/theme14.xml"/><Relationship Id="rId4" Type="http://schemas.openxmlformats.org/officeDocument/2006/relationships/slideLayout" Target="../slideLayouts/slideLayout6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vmlDrawing" Target="../drawings/vmlDrawing2.v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theme" Target="../theme/theme15.xml"/><Relationship Id="rId5" Type="http://schemas.openxmlformats.org/officeDocument/2006/relationships/slideLayout" Target="../slideLayouts/slideLayout70.xml"/><Relationship Id="rId15" Type="http://schemas.openxmlformats.org/officeDocument/2006/relationships/image" Target="../media/image11.emf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oleObject" Target="../embeddings/oleObject2.bin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96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95.xml"/><Relationship Id="rId29" Type="http://schemas.openxmlformats.org/officeDocument/2006/relationships/theme" Target="../theme/theme16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slideLayout" Target="../slideLayouts/slideLayout10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4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28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5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8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4" name="TextBox 39"/>
          <p:cNvSpPr txBox="1"/>
          <p:nvPr userDrawn="1"/>
        </p:nvSpPr>
        <p:spPr>
          <a:xfrm>
            <a:off x="9143999" y="4299942"/>
            <a:ext cx="46203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5845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4550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751" r:id="rId3"/>
    <p:sldLayoutId id="2147483752" r:id="rId4"/>
    <p:sldLayoutId id="2147483753" r:id="rId5"/>
    <p:sldLayoutId id="2147483754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04680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789" r:id="rId3"/>
    <p:sldLayoutId id="2147483790" r:id="rId4"/>
    <p:sldLayoutId id="2147483791" r:id="rId5"/>
    <p:sldLayoutId id="2147483792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FF7900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5736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5" r:id="rId2"/>
    <p:sldLayoutId id="2147483772" r:id="rId3"/>
    <p:sldLayoutId id="2147483773" r:id="rId4"/>
    <p:sldLayoutId id="2147483774" r:id="rId5"/>
    <p:sldLayoutId id="2147483775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00D318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12405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767" r:id="rId3"/>
    <p:sldLayoutId id="2147483768" r:id="rId4"/>
    <p:sldLayoutId id="2147483769" r:id="rId5"/>
    <p:sldLayoutId id="2147483770" r:id="rId6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21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625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3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2" name="Slide do think-cell" r:id="rId14" imgW="421" imgH="420" progId="TCLayout.ActiveDocument.1">
                  <p:embed/>
                </p:oleObj>
              </mc:Choice>
              <mc:Fallback>
                <p:oleObj name="Slide do think-cell" r:id="rId1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/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prstClr val="black">
                  <a:lumMod val="75000"/>
                  <a:lumOff val="25000"/>
                </a:prstClr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494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2470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  <p:sldLayoutId id="2147483867" r:id="rId12"/>
    <p:sldLayoutId id="2147483868" r:id="rId13"/>
    <p:sldLayoutId id="2147483869" r:id="rId14"/>
    <p:sldLayoutId id="2147483870" r:id="rId15"/>
    <p:sldLayoutId id="2147483871" r:id="rId16"/>
    <p:sldLayoutId id="2147483872" r:id="rId17"/>
    <p:sldLayoutId id="2147483873" r:id="rId18"/>
    <p:sldLayoutId id="2147483874" r:id="rId19"/>
    <p:sldLayoutId id="2147483875" r:id="rId20"/>
    <p:sldLayoutId id="2147483876" r:id="rId21"/>
    <p:sldLayoutId id="2147483877" r:id="rId22"/>
    <p:sldLayoutId id="2147483878" r:id="rId23"/>
    <p:sldLayoutId id="2147483879" r:id="rId24"/>
    <p:sldLayoutId id="2147483880" r:id="rId25"/>
    <p:sldLayoutId id="2147483881" r:id="rId26"/>
    <p:sldLayoutId id="2147483883" r:id="rId27"/>
    <p:sldLayoutId id="2147483884" r:id="rId2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9589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7" name="TextBox 46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3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5306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3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7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842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48" name="TextBox 47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50" name="TextBox 49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1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4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45034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5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7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842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48" name="TextBox 47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50" name="TextBox 49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1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Freeform 54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7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3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17044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6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21372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328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US" sz="4200" b="0" i="0" kern="1200" noProof="0" dirty="0">
          <a:solidFill>
            <a:schemeClr val="accent3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49632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836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D318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-215658" y="56343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</a:t>
            </a:r>
            <a:r>
              <a:rPr lang="en-US" sz="10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0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>
            <a:off x="9140713" y="2355774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06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auto">
          <a:xfrm>
            <a:off x="9140713" y="192372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211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Freeform 5"/>
          <p:cNvSpPr>
            <a:spLocks/>
          </p:cNvSpPr>
          <p:nvPr userDrawn="1"/>
        </p:nvSpPr>
        <p:spPr bwMode="auto">
          <a:xfrm>
            <a:off x="9140713" y="1491678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7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>
            <a:off x="9140713" y="1059630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09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9140713" y="62758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234 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40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14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Freeform 5"/>
          <p:cNvSpPr>
            <a:spLocks/>
          </p:cNvSpPr>
          <p:nvPr userDrawn="1"/>
        </p:nvSpPr>
        <p:spPr bwMode="auto">
          <a:xfrm>
            <a:off x="9140713" y="197986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160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43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255</a:t>
            </a:r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>
            <a:off x="9140713" y="2787822"/>
            <a:ext cx="327831" cy="43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 77</a:t>
            </a:r>
            <a:r>
              <a:rPr lang="en-US" sz="70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 </a:t>
            </a:r>
          </a:p>
          <a:p>
            <a:r>
              <a:rPr lang="en-US" sz="700" baseline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B 77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Freeform 5"/>
          <p:cNvSpPr>
            <a:spLocks/>
          </p:cNvSpPr>
          <p:nvPr userDrawn="1"/>
        </p:nvSpPr>
        <p:spPr bwMode="auto">
          <a:xfrm>
            <a:off x="9144000" y="3291830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5" name="Freeform 5"/>
          <p:cNvSpPr>
            <a:spLocks/>
          </p:cNvSpPr>
          <p:nvPr userDrawn="1"/>
        </p:nvSpPr>
        <p:spPr bwMode="auto">
          <a:xfrm>
            <a:off x="9143999" y="343830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>
            <a:off x="9261272" y="3438299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7" name="Freeform 5"/>
          <p:cNvSpPr>
            <a:spLocks/>
          </p:cNvSpPr>
          <p:nvPr userDrawn="1"/>
        </p:nvSpPr>
        <p:spPr bwMode="auto">
          <a:xfrm>
            <a:off x="9378544" y="3438298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8" name="Freeform 5"/>
          <p:cNvSpPr>
            <a:spLocks/>
          </p:cNvSpPr>
          <p:nvPr userDrawn="1"/>
        </p:nvSpPr>
        <p:spPr bwMode="auto">
          <a:xfrm>
            <a:off x="9144000" y="365432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59" name="Freeform 5"/>
          <p:cNvSpPr>
            <a:spLocks/>
          </p:cNvSpPr>
          <p:nvPr userDrawn="1"/>
        </p:nvSpPr>
        <p:spPr bwMode="auto">
          <a:xfrm>
            <a:off x="9143999" y="3812494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0" name="Freeform 5"/>
          <p:cNvSpPr>
            <a:spLocks/>
          </p:cNvSpPr>
          <p:nvPr userDrawn="1"/>
        </p:nvSpPr>
        <p:spPr bwMode="auto">
          <a:xfrm>
            <a:off x="9261272" y="3812493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1" name="Freeform 5"/>
          <p:cNvSpPr>
            <a:spLocks/>
          </p:cNvSpPr>
          <p:nvPr userDrawn="1"/>
        </p:nvSpPr>
        <p:spPr bwMode="auto">
          <a:xfrm>
            <a:off x="9378544" y="381249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2" name="Freeform 5"/>
          <p:cNvSpPr>
            <a:spLocks/>
          </p:cNvSpPr>
          <p:nvPr userDrawn="1"/>
        </p:nvSpPr>
        <p:spPr bwMode="auto">
          <a:xfrm>
            <a:off x="9144000" y="4014362"/>
            <a:ext cx="324544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3" name="Freeform 5"/>
          <p:cNvSpPr>
            <a:spLocks/>
          </p:cNvSpPr>
          <p:nvPr userDrawn="1"/>
        </p:nvSpPr>
        <p:spPr bwMode="auto">
          <a:xfrm>
            <a:off x="9143999" y="4160832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4" name="Freeform 5"/>
          <p:cNvSpPr>
            <a:spLocks/>
          </p:cNvSpPr>
          <p:nvPr userDrawn="1"/>
        </p:nvSpPr>
        <p:spPr bwMode="auto">
          <a:xfrm>
            <a:off x="9261272" y="4160831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5" name="Freeform 5"/>
          <p:cNvSpPr>
            <a:spLocks/>
          </p:cNvSpPr>
          <p:nvPr userDrawn="1"/>
        </p:nvSpPr>
        <p:spPr bwMode="auto">
          <a:xfrm>
            <a:off x="9378544" y="4160830"/>
            <a:ext cx="90000" cy="108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6" name="TextBox 39"/>
          <p:cNvSpPr txBox="1"/>
          <p:nvPr userDrawn="1"/>
        </p:nvSpPr>
        <p:spPr>
          <a:xfrm>
            <a:off x="9143999" y="4299942"/>
            <a:ext cx="475803" cy="6626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700" i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700" i="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700" i="0" baseline="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700" i="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68" name="Freeform 5"/>
          <p:cNvSpPr>
            <a:spLocks/>
          </p:cNvSpPr>
          <p:nvPr userDrawn="1"/>
        </p:nvSpPr>
        <p:spPr bwMode="auto">
          <a:xfrm>
            <a:off x="9498032" y="197986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D78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69" name="Freeform 5"/>
          <p:cNvSpPr>
            <a:spLocks/>
          </p:cNvSpPr>
          <p:nvPr userDrawn="1"/>
        </p:nvSpPr>
        <p:spPr bwMode="auto">
          <a:xfrm>
            <a:off x="9498032" y="41151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7A23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0" name="Freeform 5"/>
          <p:cNvSpPr>
            <a:spLocks/>
          </p:cNvSpPr>
          <p:nvPr userDrawn="1"/>
        </p:nvSpPr>
        <p:spPr bwMode="auto">
          <a:xfrm>
            <a:off x="9498032" y="65980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86D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1" name="Freeform 5"/>
          <p:cNvSpPr>
            <a:spLocks/>
          </p:cNvSpPr>
          <p:nvPr userDrawn="1"/>
        </p:nvSpPr>
        <p:spPr bwMode="auto">
          <a:xfrm>
            <a:off x="9498032" y="8666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B51F7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auto">
          <a:xfrm>
            <a:off x="9498032" y="110315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95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3" name="Freeform 5"/>
          <p:cNvSpPr>
            <a:spLocks/>
          </p:cNvSpPr>
          <p:nvPr userDrawn="1"/>
        </p:nvSpPr>
        <p:spPr bwMode="auto">
          <a:xfrm>
            <a:off x="9498032" y="130997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52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4" name="Freeform 5"/>
          <p:cNvSpPr>
            <a:spLocks/>
          </p:cNvSpPr>
          <p:nvPr userDrawn="1"/>
        </p:nvSpPr>
        <p:spPr bwMode="auto">
          <a:xfrm>
            <a:off x="9498032" y="1537259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C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5" name="Freeform 5"/>
          <p:cNvSpPr>
            <a:spLocks/>
          </p:cNvSpPr>
          <p:nvPr userDrawn="1"/>
        </p:nvSpPr>
        <p:spPr bwMode="auto">
          <a:xfrm>
            <a:off x="9498032" y="1744087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CCC6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6" name="Freeform 5"/>
          <p:cNvSpPr>
            <a:spLocks/>
          </p:cNvSpPr>
          <p:nvPr userDrawn="1"/>
        </p:nvSpPr>
        <p:spPr bwMode="auto">
          <a:xfrm>
            <a:off x="9498032" y="196213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69D17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7" name="Freeform 5"/>
          <p:cNvSpPr>
            <a:spLocks/>
          </p:cNvSpPr>
          <p:nvPr userDrawn="1"/>
        </p:nvSpPr>
        <p:spPr bwMode="auto">
          <a:xfrm>
            <a:off x="9498032" y="21689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9E0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8" name="Freeform 5"/>
          <p:cNvSpPr>
            <a:spLocks/>
          </p:cNvSpPr>
          <p:nvPr userDrawn="1"/>
        </p:nvSpPr>
        <p:spPr bwMode="auto">
          <a:xfrm>
            <a:off x="9498032" y="2414714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E6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79" name="Freeform 5"/>
          <p:cNvSpPr>
            <a:spLocks/>
          </p:cNvSpPr>
          <p:nvPr userDrawn="1"/>
        </p:nvSpPr>
        <p:spPr bwMode="auto">
          <a:xfrm>
            <a:off x="9498032" y="2621542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A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0" name="Freeform 5"/>
          <p:cNvSpPr>
            <a:spLocks/>
          </p:cNvSpPr>
          <p:nvPr userDrawn="1"/>
        </p:nvSpPr>
        <p:spPr bwMode="auto">
          <a:xfrm>
            <a:off x="9498032" y="2858060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DED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498032" y="3064888"/>
            <a:ext cx="108000" cy="144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9C9C9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1149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image" Target="../media/image15.emf"/><Relationship Id="rId3" Type="http://schemas.openxmlformats.org/officeDocument/2006/relationships/tags" Target="../tags/tag8.xml"/><Relationship Id="rId21" Type="http://schemas.openxmlformats.org/officeDocument/2006/relationships/image" Target="../media/image16.png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oleObject" Target="../embeddings/oleObject6.bin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notesSlide" Target="../notesSlides/notesSlide1.xml"/><Relationship Id="rId1" Type="http://schemas.openxmlformats.org/officeDocument/2006/relationships/vmlDrawing" Target="../drawings/vmlDrawing5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chart" Target="../charts/chart1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image" Target="../media/image11.emf"/><Relationship Id="rId10" Type="http://schemas.openxmlformats.org/officeDocument/2006/relationships/tags" Target="../tags/tag15.xml"/><Relationship Id="rId19" Type="http://schemas.openxmlformats.org/officeDocument/2006/relationships/slideLayout" Target="../slideLayouts/slideLayout70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0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9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9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3161208"/>
          </a:xfrm>
        </p:spPr>
        <p:txBody>
          <a:bodyPr/>
          <a:lstStyle/>
          <a:p>
            <a:r>
              <a:rPr lang="en-US" dirty="0" err="1" smtClean="0"/>
              <a:t>Programa</a:t>
            </a:r>
            <a:r>
              <a:rPr lang="en-US" dirty="0" smtClean="0"/>
              <a:t> Novo </a:t>
            </a:r>
            <a:r>
              <a:rPr lang="en-US" dirty="0" err="1"/>
              <a:t>Antifraude</a:t>
            </a:r>
            <a:r>
              <a:rPr lang="en-US" dirty="0"/>
              <a:t> </a:t>
            </a:r>
            <a:r>
              <a:rPr lang="en-US" dirty="0" smtClean="0"/>
              <a:t>RAID-FMS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sz="2800" dirty="0" err="1" smtClean="0"/>
              <a:t>Projeto</a:t>
            </a:r>
            <a:r>
              <a:rPr lang="en-US" sz="2800" dirty="0" smtClean="0"/>
              <a:t> PRJ00024387</a:t>
            </a:r>
            <a:endParaRPr lang="en-US" sz="2800" dirty="0"/>
          </a:p>
        </p:txBody>
      </p:sp>
      <p:sp>
        <p:nvSpPr>
          <p:cNvPr id="3" name="CaixaDeTexto 2"/>
          <p:cNvSpPr txBox="1"/>
          <p:nvPr/>
        </p:nvSpPr>
        <p:spPr>
          <a:xfrm>
            <a:off x="468313" y="4515966"/>
            <a:ext cx="3455615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implon Oi Headline" pitchFamily="2" charset="0"/>
                <a:ea typeface="Simplon BP" charset="0"/>
                <a:cs typeface="Simplon BP" charset="0"/>
              </a:rPr>
              <a:t>FEVEREIRO/2018</a:t>
            </a:r>
          </a:p>
        </p:txBody>
      </p:sp>
    </p:spTree>
    <p:extLst>
      <p:ext uri="{BB962C8B-B14F-4D97-AF65-F5344CB8AC3E}">
        <p14:creationId xmlns:p14="http://schemas.microsoft.com/office/powerpoint/2010/main" val="1516352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pt-BR" sz="3200" dirty="0"/>
              <a:t>Riscos </a:t>
            </a:r>
            <a:r>
              <a:rPr lang="pt-BR" sz="3200" dirty="0" smtClean="0"/>
              <a:t>e </a:t>
            </a:r>
            <a:r>
              <a:rPr lang="pt-BR" sz="3200" dirty="0" err="1" smtClean="0"/>
              <a:t>Issues</a:t>
            </a:r>
            <a:endParaRPr lang="pt-BR" sz="3200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0</a:t>
            </a:fld>
            <a:endParaRPr lang="pt-BR" dirty="0"/>
          </a:p>
        </p:txBody>
      </p:sp>
      <p:sp>
        <p:nvSpPr>
          <p:cNvPr id="10" name="Espaço Reservado para Conteúdo 2"/>
          <p:cNvSpPr txBox="1">
            <a:spLocks/>
          </p:cNvSpPr>
          <p:nvPr/>
        </p:nvSpPr>
        <p:spPr>
          <a:xfrm>
            <a:off x="485076" y="1059582"/>
            <a:ext cx="7908999" cy="20882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365125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541338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717550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893763" algn="l"/>
              </a:tabLst>
              <a:defRPr lang="pt-BR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dirty="0"/>
              <a:t>Contrato do fornecedor </a:t>
            </a:r>
            <a:r>
              <a:rPr lang="pt-BR" dirty="0" err="1"/>
              <a:t>WeDo</a:t>
            </a:r>
            <a:r>
              <a:rPr lang="pt-BR" dirty="0"/>
              <a:t> para desenvolvimento e manutenção da nova aplicação de Fraude ainda em </a:t>
            </a:r>
            <a:r>
              <a:rPr lang="pt-BR" dirty="0" smtClean="0"/>
              <a:t>negociação, gerando pendência de comprometimento e faturamento das parcelas referentes às Ondas 1 e 2, já entregues.  </a:t>
            </a:r>
            <a:endParaRPr lang="pt-BR" dirty="0"/>
          </a:p>
          <a:p>
            <a:pPr algn="just"/>
            <a:endParaRPr lang="pt-BR" dirty="0" smtClean="0"/>
          </a:p>
          <a:p>
            <a:pPr algn="just"/>
            <a:r>
              <a:rPr lang="pt-BR" dirty="0" smtClean="0"/>
              <a:t>Devido ao detalhamento das Regras </a:t>
            </a:r>
            <a:r>
              <a:rPr lang="pt-BR" dirty="0"/>
              <a:t>de </a:t>
            </a:r>
            <a:r>
              <a:rPr lang="pt-BR" dirty="0" smtClean="0"/>
              <a:t>Negócio </a:t>
            </a:r>
            <a:r>
              <a:rPr lang="pt-BR" dirty="0"/>
              <a:t>e </a:t>
            </a:r>
            <a:r>
              <a:rPr lang="pt-BR" dirty="0" smtClean="0"/>
              <a:t>Critérios </a:t>
            </a:r>
            <a:r>
              <a:rPr lang="pt-BR" dirty="0"/>
              <a:t>de </a:t>
            </a:r>
            <a:r>
              <a:rPr lang="pt-BR" dirty="0" smtClean="0"/>
              <a:t>Aceitação ser feito </a:t>
            </a:r>
            <a:r>
              <a:rPr lang="pt-BR" dirty="0"/>
              <a:t>previamente ao início da etapa de A</a:t>
            </a:r>
            <a:r>
              <a:rPr lang="pt-BR" dirty="0" smtClean="0"/>
              <a:t>nálise </a:t>
            </a:r>
            <a:r>
              <a:rPr lang="pt-BR" dirty="0"/>
              <a:t>e </a:t>
            </a:r>
            <a:r>
              <a:rPr lang="pt-BR" dirty="0" smtClean="0"/>
              <a:t>Desenho da Solução </a:t>
            </a:r>
            <a:r>
              <a:rPr lang="pt-BR" dirty="0"/>
              <a:t>de cada uma das </a:t>
            </a:r>
            <a:r>
              <a:rPr lang="pt-BR" dirty="0" smtClean="0"/>
              <a:t>Ondas, temos Risco de inclusão de novo escopo ao longo do Projeto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Considerando a redistribuição dos requisitos </a:t>
            </a:r>
            <a:r>
              <a:rPr lang="pt-BR" dirty="0" smtClean="0"/>
              <a:t>de Operação </a:t>
            </a:r>
            <a:r>
              <a:rPr lang="pt-BR" dirty="0"/>
              <a:t>de </a:t>
            </a:r>
            <a:r>
              <a:rPr lang="pt-BR" dirty="0" smtClean="0"/>
              <a:t>Crédito </a:t>
            </a:r>
            <a:r>
              <a:rPr lang="pt-BR" dirty="0"/>
              <a:t>e </a:t>
            </a:r>
            <a:r>
              <a:rPr lang="pt-BR" dirty="0" smtClean="0"/>
              <a:t>Regras Online </a:t>
            </a:r>
            <a:r>
              <a:rPr lang="pt-BR" dirty="0"/>
              <a:t>para demais produtos no SD da Onda </a:t>
            </a:r>
            <a:r>
              <a:rPr lang="pt-BR" dirty="0" smtClean="0"/>
              <a:t>3, </a:t>
            </a:r>
            <a:r>
              <a:rPr lang="pt-BR" dirty="0"/>
              <a:t>identificamos que as ondas 4/5/6 e 8/9 podem ser desconsideradas do </a:t>
            </a:r>
            <a:r>
              <a:rPr lang="pt-BR" dirty="0" err="1"/>
              <a:t>roadmap</a:t>
            </a:r>
            <a:r>
              <a:rPr lang="pt-BR" dirty="0"/>
              <a:t> previsto inicialmente na RFP. Importante ressaltar que esta redistribuição de requisitos implica também na revisão do planejamento e esforço estimado em tempo de RFP</a:t>
            </a:r>
            <a:r>
              <a:rPr lang="pt-BR" dirty="0" smtClean="0"/>
              <a:t>.</a:t>
            </a:r>
          </a:p>
          <a:p>
            <a:pPr algn="just"/>
            <a:endParaRPr lang="pt-BR" dirty="0"/>
          </a:p>
          <a:p>
            <a:pPr algn="just"/>
            <a:endParaRPr lang="pt-BR" dirty="0" smtClean="0"/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81624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pt-BR" sz="3200" dirty="0"/>
              <a:t>C</a:t>
            </a:r>
            <a:r>
              <a:rPr lang="pt-BR" sz="3200" dirty="0" smtClean="0"/>
              <a:t>omunicação</a:t>
            </a:r>
            <a:endParaRPr lang="pt-BR" sz="3200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1</a:t>
            </a:fld>
            <a:endParaRPr lang="pt-BR" dirty="0"/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7529733"/>
              </p:ext>
            </p:extLst>
          </p:nvPr>
        </p:nvGraphicFramePr>
        <p:xfrm>
          <a:off x="484912" y="843558"/>
          <a:ext cx="8218487" cy="3939646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2067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7907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7164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O que recebe?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8132" marR="8132" marT="813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D17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Quem </a:t>
                      </a: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envia / prepara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?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8132" marR="8132" marT="813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D17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Quem </a:t>
                      </a: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recebe / consulta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?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8132" marR="8132" marT="813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D17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Quando </a:t>
                      </a: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recebe / consulta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?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8132" marR="8132" marT="813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D17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Como </a:t>
                      </a: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recebe / consulta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?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8132" marR="8132" marT="813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D17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O que </a:t>
                      </a: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recebe / consulta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?</a:t>
                      </a:r>
                      <a:endParaRPr lang="pt-BR" sz="900" b="1" i="0" u="none" strike="noStrike" dirty="0">
                        <a:solidFill>
                          <a:srgbClr val="FFFFFF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8132" marR="8132" marT="813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D1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6471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  <a:cs typeface="Times New Roman" panose="02020603050405020304" pitchFamily="18" charset="0"/>
                        </a:rPr>
                        <a:t>Plano do Projeto TI</a:t>
                      </a:r>
                      <a:endParaRPr kumimoji="0" lang="pt-BR" altLang="pt-B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pt-BR" altLang="pt-B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  <a:cs typeface="Times New Roman" panose="02020603050405020304" pitchFamily="18" charset="0"/>
                        </a:rPr>
                        <a:t>PMO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pt-BR" altLang="pt-BR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  <a:cs typeface="Times New Roman" panose="02020603050405020304" pitchFamily="18" charset="0"/>
                        </a:rPr>
                        <a:t>Stakeholders</a:t>
                      </a:r>
                      <a:r>
                        <a:rPr kumimoji="0" lang="pt-BR" altLang="pt-B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  <a:cs typeface="Times New Roman" panose="02020603050405020304" pitchFamily="18" charset="0"/>
                        </a:rPr>
                        <a:t> do projeto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pt-BR" altLang="pt-B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Início do projeto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altLang="pt-B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pt-BR" altLang="pt-B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</a:rPr>
                        <a:t>Atualizações quando necessário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pt-BR" altLang="pt-B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  <a:cs typeface="Times New Roman" panose="02020603050405020304" pitchFamily="18" charset="0"/>
                        </a:rPr>
                        <a:t>E-mail / Sharepoint ou </a:t>
                      </a:r>
                      <a:r>
                        <a:rPr kumimoji="0" lang="pt-BR" altLang="pt-BR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  <a:cs typeface="Times New Roman" panose="02020603050405020304" pitchFamily="18" charset="0"/>
                        </a:rPr>
                        <a:t>ClarityPPM</a:t>
                      </a:r>
                      <a:endParaRPr kumimoji="0" lang="pt-BR" altLang="pt-B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  <a:cs typeface="Times New Roman" panose="02020603050405020304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implon BP Regular" pitchFamily="2" charset="0"/>
                          <a:cs typeface="Times New Roman" panose="02020603050405020304" pitchFamily="18" charset="0"/>
                        </a:rPr>
                        <a:t>Plano do Projeto TI</a:t>
                      </a:r>
                      <a:endParaRPr kumimoji="0" lang="pt-BR" altLang="pt-B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4463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Ata de reuniã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>
                          <a:effectLst/>
                          <a:latin typeface="Simplon BP Regular" pitchFamily="2" charset="0"/>
                        </a:rPr>
                        <a:t>Organizador da reuniã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Participantes 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da </a:t>
                      </a: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reunião</a:t>
                      </a:r>
                    </a:p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Demais 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interessados</a:t>
                      </a:r>
                      <a:endParaRPr lang="pt-BR" sz="900" b="0" i="0" u="none" strike="noStrike" dirty="0"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Em até 24 horas corridas após reuniã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E-mail / Sharepoint ou </a:t>
                      </a:r>
                      <a:r>
                        <a:rPr lang="pt-BR" sz="900" u="none" strike="noStrike" dirty="0" err="1" smtClean="0">
                          <a:effectLst/>
                          <a:latin typeface="Simplon BP Regular" pitchFamily="2" charset="0"/>
                        </a:rPr>
                        <a:t>ClarityPPM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Ata de reuniã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1091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Status </a:t>
                      </a:r>
                      <a:r>
                        <a:rPr lang="pt-BR" sz="900" u="none" strike="noStrike" dirty="0" err="1">
                          <a:effectLst/>
                          <a:latin typeface="Simplon BP Regular" pitchFamily="2" charset="0"/>
                        </a:rPr>
                        <a:t>Report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 –Fornecedores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>
                          <a:effectLst/>
                          <a:latin typeface="Simplon BP Regular" pitchFamily="2" charset="0"/>
                        </a:rPr>
                        <a:t>Fornecedores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GP</a:t>
                      </a:r>
                    </a:p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RT 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dos sistemas </a:t>
                      </a: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envolvidos</a:t>
                      </a:r>
                    </a:p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PM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Semanalmente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E-mail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>
                          <a:effectLst/>
                          <a:latin typeface="Simplon BP Regular" pitchFamily="2" charset="0"/>
                        </a:rPr>
                        <a:t>Status Report – Fornecedores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1091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Material do Core Team (RSO)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>
                          <a:effectLst/>
                          <a:latin typeface="Simplon BP Regular" pitchFamily="2" charset="0"/>
                        </a:rPr>
                        <a:t>PM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Público 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do Core Team</a:t>
                      </a:r>
                      <a:endParaRPr lang="pt-BR" sz="900" b="0" i="0" u="none" strike="noStrike" dirty="0"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Semanalmente na reunião de Core Team ou consulta sob demanda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E-mail / Sharepoint ou </a:t>
                      </a:r>
                      <a:r>
                        <a:rPr lang="pt-BR" sz="900" u="none" strike="noStrike" dirty="0" err="1" smtClean="0">
                          <a:effectLst/>
                          <a:latin typeface="Simplon BP Regular" pitchFamily="2" charset="0"/>
                        </a:rPr>
                        <a:t>ClarityPPM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RSO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61091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Material do Core Team (RSE</a:t>
                      </a: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) – Quando</a:t>
                      </a:r>
                      <a:r>
                        <a:rPr lang="pt-BR" sz="900" u="none" strike="noStrike" baseline="0" dirty="0" smtClean="0">
                          <a:effectLst/>
                          <a:latin typeface="Simplon BP Regular" pitchFamily="2" charset="0"/>
                        </a:rPr>
                        <a:t> aplicável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>
                          <a:effectLst/>
                          <a:latin typeface="Simplon BP Regular" pitchFamily="2" charset="0"/>
                        </a:rPr>
                        <a:t>PM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Público 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do </a:t>
                      </a:r>
                      <a:r>
                        <a:rPr lang="pt-BR" sz="900" u="none" strike="noStrike" dirty="0" err="1">
                          <a:effectLst/>
                          <a:latin typeface="Simplon BP Regular" pitchFamily="2" charset="0"/>
                        </a:rPr>
                        <a:t>Steering</a:t>
                      </a:r>
                      <a:endParaRPr lang="pt-BR" sz="900" b="0" i="0" u="none" strike="noStrike" dirty="0"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Periodicamente na reunião de </a:t>
                      </a:r>
                      <a:r>
                        <a:rPr lang="pt-BR" sz="900" u="none" strike="noStrike" dirty="0" err="1">
                          <a:effectLst/>
                          <a:latin typeface="Simplon BP Regular" pitchFamily="2" charset="0"/>
                        </a:rPr>
                        <a:t>Steering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 ou consulta sob demanda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E-mail / Sharepoint ou </a:t>
                      </a:r>
                      <a:r>
                        <a:rPr lang="pt-BR" sz="900" u="none" strike="noStrike" dirty="0" err="1" smtClean="0">
                          <a:effectLst/>
                          <a:latin typeface="Simplon BP Regular" pitchFamily="2" charset="0"/>
                        </a:rPr>
                        <a:t>ClarityPPM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>
                          <a:effectLst/>
                          <a:latin typeface="Simplon BP Regular" pitchFamily="2" charset="0"/>
                        </a:rPr>
                        <a:t>RSE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2851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Lista de Pendências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>
                          <a:effectLst/>
                          <a:latin typeface="Simplon BP Regular" pitchFamily="2" charset="0"/>
                        </a:rPr>
                        <a:t>PMO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pt-BR" sz="900" u="none" strike="noStrike" dirty="0" smtClean="0">
                          <a:effectLst/>
                          <a:latin typeface="Simplon BP Regular" pitchFamily="2" charset="0"/>
                        </a:rPr>
                        <a:t>Responsável </a:t>
                      </a:r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pela execução da pendência</a:t>
                      </a:r>
                      <a:endParaRPr lang="pt-BR" sz="900" b="0" i="0" u="none" strike="noStrike" dirty="0"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Semanalmente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>
                          <a:effectLst/>
                          <a:latin typeface="Simplon BP Regular" pitchFamily="2" charset="0"/>
                        </a:rPr>
                        <a:t>E-mail</a:t>
                      </a:r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u="none" strike="noStrike" dirty="0">
                          <a:effectLst/>
                          <a:latin typeface="Simplon BP Regular" pitchFamily="2" charset="0"/>
                        </a:rPr>
                        <a:t>Lista de Pendências (no Sharepoint ou na aba de colaboração)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Simplon BP Regular" pitchFamily="2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8674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8313" y="48303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3200" dirty="0" smtClean="0"/>
              <a:t>Agenda </a:t>
            </a:r>
            <a:r>
              <a:rPr lang="pt-BR" sz="3200" dirty="0"/>
              <a:t>de </a:t>
            </a:r>
            <a:r>
              <a:rPr lang="pt-BR" sz="3200" dirty="0" smtClean="0"/>
              <a:t>Reuniões</a:t>
            </a:r>
            <a:endParaRPr lang="pt-BR" sz="3200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2</a:t>
            </a:fld>
            <a:endParaRPr lang="pt-BR" dirty="0"/>
          </a:p>
        </p:txBody>
      </p:sp>
      <p:sp>
        <p:nvSpPr>
          <p:cNvPr id="6" name="Rectangle 30"/>
          <p:cNvSpPr>
            <a:spLocks noChangeArrowheads="1"/>
          </p:cNvSpPr>
          <p:nvPr/>
        </p:nvSpPr>
        <p:spPr bwMode="auto">
          <a:xfrm>
            <a:off x="6878638" y="640234"/>
            <a:ext cx="1455737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Sexta</a:t>
            </a:r>
          </a:p>
        </p:txBody>
      </p:sp>
      <p:sp>
        <p:nvSpPr>
          <p:cNvPr id="7" name="Rectangle 35"/>
          <p:cNvSpPr>
            <a:spLocks noChangeArrowheads="1"/>
          </p:cNvSpPr>
          <p:nvPr/>
        </p:nvSpPr>
        <p:spPr bwMode="auto">
          <a:xfrm>
            <a:off x="169069" y="922688"/>
            <a:ext cx="311150" cy="186144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wordArtVert" lIns="46800" rIns="45720"/>
          <a:lstStyle/>
          <a:p>
            <a:pPr marL="196850" indent="-196850" algn="ctr" eaLnBrk="0" hangingPunct="0">
              <a:lnSpc>
                <a:spcPct val="95000"/>
              </a:lnSpc>
              <a:spcBef>
                <a:spcPct val="5000"/>
              </a:spcBef>
              <a:defRPr/>
            </a:pPr>
            <a:r>
              <a:rPr lang="pt-BR" sz="1000" b="1" dirty="0">
                <a:solidFill>
                  <a:prstClr val="white"/>
                </a:solidFill>
                <a:latin typeface="Simplon BP Regular" pitchFamily="2" charset="0"/>
              </a:rPr>
              <a:t>MANHÃ</a:t>
            </a:r>
          </a:p>
        </p:txBody>
      </p:sp>
      <p:sp>
        <p:nvSpPr>
          <p:cNvPr id="8" name="Rectangle 36"/>
          <p:cNvSpPr>
            <a:spLocks noChangeArrowheads="1"/>
          </p:cNvSpPr>
          <p:nvPr/>
        </p:nvSpPr>
        <p:spPr bwMode="auto">
          <a:xfrm>
            <a:off x="169069" y="2979258"/>
            <a:ext cx="311150" cy="186144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wordArtVert" lIns="46800" rIns="45720"/>
          <a:lstStyle/>
          <a:p>
            <a:pPr marL="196850" indent="-196850" algn="ctr" eaLnBrk="0" hangingPunct="0">
              <a:lnSpc>
                <a:spcPct val="95000"/>
              </a:lnSpc>
              <a:spcBef>
                <a:spcPct val="5000"/>
              </a:spcBef>
              <a:defRPr/>
            </a:pPr>
            <a:r>
              <a:rPr lang="pt-BR" sz="1000" b="1" dirty="0">
                <a:solidFill>
                  <a:prstClr val="white"/>
                </a:solidFill>
                <a:latin typeface="Simplon BP Regular" pitchFamily="2" charset="0"/>
              </a:rPr>
              <a:t>TARDE</a:t>
            </a:r>
          </a:p>
        </p:txBody>
      </p:sp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5302250" y="640234"/>
            <a:ext cx="1455738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Quinta</a:t>
            </a:r>
          </a:p>
        </p:txBody>
      </p:sp>
      <p:sp>
        <p:nvSpPr>
          <p:cNvPr id="10" name="Rectangle 40"/>
          <p:cNvSpPr>
            <a:spLocks noChangeArrowheads="1"/>
          </p:cNvSpPr>
          <p:nvPr/>
        </p:nvSpPr>
        <p:spPr bwMode="auto">
          <a:xfrm>
            <a:off x="3730625" y="640234"/>
            <a:ext cx="1455738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Quarta</a:t>
            </a:r>
          </a:p>
        </p:txBody>
      </p:sp>
      <p:sp>
        <p:nvSpPr>
          <p:cNvPr id="11" name="Rectangle 43"/>
          <p:cNvSpPr>
            <a:spLocks noChangeArrowheads="1"/>
          </p:cNvSpPr>
          <p:nvPr/>
        </p:nvSpPr>
        <p:spPr bwMode="auto">
          <a:xfrm>
            <a:off x="2160588" y="640234"/>
            <a:ext cx="1454150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Terça</a:t>
            </a:r>
          </a:p>
        </p:txBody>
      </p:sp>
      <p:sp>
        <p:nvSpPr>
          <p:cNvPr id="12" name="Rectangle 46"/>
          <p:cNvSpPr>
            <a:spLocks noChangeArrowheads="1"/>
          </p:cNvSpPr>
          <p:nvPr/>
        </p:nvSpPr>
        <p:spPr bwMode="auto">
          <a:xfrm>
            <a:off x="582613" y="640234"/>
            <a:ext cx="1454150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 dirty="0">
                <a:solidFill>
                  <a:prstClr val="white"/>
                </a:solidFill>
                <a:latin typeface="Simplon BP Regular" pitchFamily="2" charset="0"/>
              </a:rPr>
              <a:t>Segunda</a:t>
            </a:r>
          </a:p>
        </p:txBody>
      </p:sp>
      <p:sp>
        <p:nvSpPr>
          <p:cNvPr id="14" name="Rectangle 47"/>
          <p:cNvSpPr>
            <a:spLocks noChangeArrowheads="1"/>
          </p:cNvSpPr>
          <p:nvPr/>
        </p:nvSpPr>
        <p:spPr bwMode="auto">
          <a:xfrm>
            <a:off x="817563" y="4930676"/>
            <a:ext cx="249237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/>
          <a:extLst/>
        </p:spPr>
        <p:txBody>
          <a:bodyPr lIns="18000" rIns="18000" anchor="ctr"/>
          <a:lstStyle/>
          <a:p>
            <a:pPr algn="ctr" eaLnBrk="0" hangingPunct="0">
              <a:defRPr/>
            </a:pPr>
            <a:endParaRPr lang="pt-BR" sz="90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5" name="CaixaDeTexto 22"/>
          <p:cNvSpPr txBox="1">
            <a:spLocks noChangeArrowheads="1"/>
          </p:cNvSpPr>
          <p:nvPr/>
        </p:nvSpPr>
        <p:spPr bwMode="auto">
          <a:xfrm>
            <a:off x="1084263" y="4917976"/>
            <a:ext cx="70167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>
                <a:solidFill>
                  <a:prstClr val="black"/>
                </a:solidFill>
                <a:latin typeface="Simplon BP Regular" pitchFamily="2" charset="0"/>
              </a:rPr>
              <a:t>Presencial</a:t>
            </a:r>
          </a:p>
        </p:txBody>
      </p:sp>
      <p:sp>
        <p:nvSpPr>
          <p:cNvPr id="16" name="CaixaDeTexto 23"/>
          <p:cNvSpPr txBox="1">
            <a:spLocks noChangeArrowheads="1"/>
          </p:cNvSpPr>
          <p:nvPr/>
        </p:nvSpPr>
        <p:spPr bwMode="auto">
          <a:xfrm>
            <a:off x="3175" y="4917976"/>
            <a:ext cx="64452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Legenda:</a:t>
            </a:r>
          </a:p>
        </p:txBody>
      </p:sp>
      <p:sp>
        <p:nvSpPr>
          <p:cNvPr id="17" name="Rectangle 47"/>
          <p:cNvSpPr>
            <a:spLocks noChangeArrowheads="1"/>
          </p:cNvSpPr>
          <p:nvPr/>
        </p:nvSpPr>
        <p:spPr bwMode="auto">
          <a:xfrm>
            <a:off x="1898650" y="4930676"/>
            <a:ext cx="247650" cy="163512"/>
          </a:xfrm>
          <a:prstGeom prst="rect">
            <a:avLst/>
          </a:prstGeom>
          <a:noFill/>
          <a:ln w="12700">
            <a:solidFill>
              <a:schemeClr val="accent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rIns="18000" anchor="ctr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 hangingPunct="1"/>
            <a:endParaRPr lang="pt-BR" altLang="pt-BR" sz="90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8" name="CaixaDeTexto 25"/>
          <p:cNvSpPr txBox="1">
            <a:spLocks noChangeArrowheads="1"/>
          </p:cNvSpPr>
          <p:nvPr/>
        </p:nvSpPr>
        <p:spPr bwMode="auto">
          <a:xfrm>
            <a:off x="2133600" y="4917976"/>
            <a:ext cx="138588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>
                <a:solidFill>
                  <a:prstClr val="black"/>
                </a:solidFill>
                <a:latin typeface="Simplon BP Regular" pitchFamily="2" charset="0"/>
              </a:rPr>
              <a:t>Atividade de Preparação</a:t>
            </a:r>
          </a:p>
        </p:txBody>
      </p:sp>
      <p:sp>
        <p:nvSpPr>
          <p:cNvPr id="19" name="Rectangle 68"/>
          <p:cNvSpPr>
            <a:spLocks noChangeArrowheads="1"/>
          </p:cNvSpPr>
          <p:nvPr/>
        </p:nvSpPr>
        <p:spPr bwMode="auto">
          <a:xfrm>
            <a:off x="6880225" y="3030310"/>
            <a:ext cx="1454150" cy="946401"/>
          </a:xfrm>
          <a:prstGeom prst="rect">
            <a:avLst/>
          </a:prstGeom>
          <a:noFill/>
          <a:ln w="15875">
            <a:solidFill>
              <a:srgbClr val="FF99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36000" rIns="0" bIns="36000" anchor="ctr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Acompanhamento de Pendências – Envio de e-mail</a:t>
            </a: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.: PMO </a:t>
            </a: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úblico: Resp. Pendências Abertas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, Core Team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0" name="Rectangle 47"/>
          <p:cNvSpPr>
            <a:spLocks noChangeArrowheads="1"/>
          </p:cNvSpPr>
          <p:nvPr/>
        </p:nvSpPr>
        <p:spPr bwMode="auto">
          <a:xfrm>
            <a:off x="3817938" y="4930676"/>
            <a:ext cx="249237" cy="163512"/>
          </a:xfrm>
          <a:prstGeom prst="rect">
            <a:avLst/>
          </a:prstGeom>
          <a:noFill/>
          <a:ln w="12700">
            <a:solidFill>
              <a:srgbClr val="FF954D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endParaRPr lang="pt-BR" altLang="pt-BR" sz="90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1" name="CaixaDeTexto 28"/>
          <p:cNvSpPr txBox="1">
            <a:spLocks noChangeArrowheads="1"/>
          </p:cNvSpPr>
          <p:nvPr/>
        </p:nvSpPr>
        <p:spPr bwMode="auto">
          <a:xfrm>
            <a:off x="4125913" y="4917976"/>
            <a:ext cx="115411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>
                <a:solidFill>
                  <a:prstClr val="black"/>
                </a:solidFill>
                <a:latin typeface="Simplon BP Regular" pitchFamily="2" charset="0"/>
              </a:rPr>
              <a:t>Divulgação Material</a:t>
            </a:r>
          </a:p>
        </p:txBody>
      </p:sp>
      <p:sp>
        <p:nvSpPr>
          <p:cNvPr id="22" name="CaixaDeTexto 33"/>
          <p:cNvSpPr txBox="1">
            <a:spLocks noChangeArrowheads="1"/>
          </p:cNvSpPr>
          <p:nvPr/>
        </p:nvSpPr>
        <p:spPr bwMode="auto">
          <a:xfrm>
            <a:off x="96764" y="2787774"/>
            <a:ext cx="65722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 dirty="0">
                <a:solidFill>
                  <a:schemeClr val="bg1">
                    <a:lumMod val="50000"/>
                  </a:schemeClr>
                </a:solidFill>
                <a:latin typeface="Simplon BP Regular" pitchFamily="2" charset="0"/>
              </a:rPr>
              <a:t>14:00</a:t>
            </a:r>
          </a:p>
        </p:txBody>
      </p:sp>
      <p:sp>
        <p:nvSpPr>
          <p:cNvPr id="23" name="Rectangle 68"/>
          <p:cNvSpPr>
            <a:spLocks noChangeArrowheads="1"/>
          </p:cNvSpPr>
          <p:nvPr/>
        </p:nvSpPr>
        <p:spPr bwMode="auto">
          <a:xfrm>
            <a:off x="2160838" y="2078055"/>
            <a:ext cx="1454400" cy="657690"/>
          </a:xfrm>
          <a:prstGeom prst="rect">
            <a:avLst/>
          </a:prstGeom>
          <a:noFill/>
          <a:ln w="15875">
            <a:solidFill>
              <a:schemeClr val="accent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 smtClean="0">
                <a:solidFill>
                  <a:prstClr val="black"/>
                </a:solidFill>
                <a:latin typeface="Simplon BP Regular" pitchFamily="2" charset="0"/>
              </a:rPr>
              <a:t>Preparação do Material para o Core Team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eriodicidade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Semanal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onsável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PMO, GP</a:t>
            </a:r>
          </a:p>
          <a:p>
            <a:endParaRPr lang="pt-BR" altLang="pt-BR" sz="9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b="1" dirty="0" smtClean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4" name="Rectangle 68"/>
          <p:cNvSpPr>
            <a:spLocks noChangeArrowheads="1"/>
          </p:cNvSpPr>
          <p:nvPr/>
        </p:nvSpPr>
        <p:spPr bwMode="auto">
          <a:xfrm>
            <a:off x="3721178" y="2968160"/>
            <a:ext cx="1454150" cy="1861200"/>
          </a:xfrm>
          <a:prstGeom prst="rect">
            <a:avLst/>
          </a:prstGeom>
          <a:noFill/>
          <a:ln w="15875">
            <a:solidFill>
              <a:srgbClr val="FF954D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Divulgação Ata de Core Team , Cadastramento das Pendências e das Decisões, Premissas e Restrições definidas na reunião</a:t>
            </a:r>
          </a:p>
          <a:p>
            <a:pPr hangingPunct="1"/>
            <a:endParaRPr lang="pt-BR" altLang="pt-BR" sz="900" b="1" dirty="0">
              <a:solidFill>
                <a:prstClr val="black"/>
              </a:solidFill>
              <a:latin typeface="Simplon BP Regular" pitchFamily="2" charset="0"/>
            </a:endParaRP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eriodicidade: Semanal</a:t>
            </a: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onsável: PMO </a:t>
            </a: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úblico: Membros do Core Team</a:t>
            </a:r>
          </a:p>
        </p:txBody>
      </p:sp>
      <p:sp>
        <p:nvSpPr>
          <p:cNvPr id="25" name="CaixaDeTexto 41"/>
          <p:cNvSpPr txBox="1">
            <a:spLocks noChangeArrowheads="1"/>
          </p:cNvSpPr>
          <p:nvPr/>
        </p:nvSpPr>
        <p:spPr bwMode="auto">
          <a:xfrm>
            <a:off x="96764" y="715608"/>
            <a:ext cx="6588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 dirty="0" smtClean="0">
                <a:solidFill>
                  <a:schemeClr val="bg1">
                    <a:lumMod val="50000"/>
                  </a:schemeClr>
                </a:solidFill>
                <a:latin typeface="Simplon BP Regular" pitchFamily="2" charset="0"/>
              </a:rPr>
              <a:t>09:00</a:t>
            </a:r>
            <a:endParaRPr lang="pt-BR" altLang="pt-BR" sz="900" dirty="0">
              <a:solidFill>
                <a:schemeClr val="bg1">
                  <a:lumMod val="50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26" name="Rectangle 47"/>
          <p:cNvSpPr>
            <a:spLocks noChangeArrowheads="1"/>
          </p:cNvSpPr>
          <p:nvPr/>
        </p:nvSpPr>
        <p:spPr bwMode="auto">
          <a:xfrm>
            <a:off x="2160838" y="3663973"/>
            <a:ext cx="1454150" cy="116538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/>
          <a:extLst/>
        </p:spPr>
        <p:txBody>
          <a:bodyPr lIns="18000" rIns="18000"/>
          <a:lstStyle/>
          <a:p>
            <a:pPr eaLnBrk="0">
              <a:defRPr/>
            </a:pPr>
            <a:r>
              <a:rPr lang="pt-BR" sz="900" b="1" dirty="0">
                <a:solidFill>
                  <a:prstClr val="black"/>
                </a:solidFill>
                <a:latin typeface="Simplon BP Regular" pitchFamily="2" charset="0"/>
              </a:rPr>
              <a:t>Reunião de </a:t>
            </a:r>
            <a:r>
              <a:rPr lang="pt-BR" sz="900" b="1" dirty="0" smtClean="0">
                <a:solidFill>
                  <a:prstClr val="black"/>
                </a:solidFill>
                <a:latin typeface="Simplon BP Regular" pitchFamily="2" charset="0"/>
              </a:rPr>
              <a:t>Core Team</a:t>
            </a:r>
          </a:p>
          <a:p>
            <a:pPr eaLnBrk="0">
              <a:defRPr/>
            </a:pPr>
            <a:endParaRPr lang="pt-BR" sz="900" b="1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Periodicidade: Semanal</a:t>
            </a:r>
            <a:endParaRPr 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Participa: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GPs, CT, CF, 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Gestão de Testes, </a:t>
            </a:r>
            <a:r>
              <a:rPr lang="pt-BR" sz="900" dirty="0" err="1">
                <a:solidFill>
                  <a:prstClr val="black"/>
                </a:solidFill>
                <a:latin typeface="Simplon BP Regular" pitchFamily="2" charset="0"/>
              </a:rPr>
              <a:t>RTs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 e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PMO</a:t>
            </a:r>
            <a:endParaRPr lang="pt-BR" sz="900" i="1" kern="0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Foco: Cronograma, Riscos, </a:t>
            </a:r>
            <a:r>
              <a:rPr lang="pt-BR" sz="900" i="1" kern="0" dirty="0" err="1">
                <a:solidFill>
                  <a:prstClr val="black"/>
                </a:solidFill>
                <a:latin typeface="Simplon BP Regular" pitchFamily="2" charset="0"/>
              </a:rPr>
              <a:t>Issues</a:t>
            </a: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 e Pendências</a:t>
            </a:r>
            <a:endParaRPr 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7" name="Rectangle 68"/>
          <p:cNvSpPr>
            <a:spLocks noChangeArrowheads="1"/>
          </p:cNvSpPr>
          <p:nvPr/>
        </p:nvSpPr>
        <p:spPr bwMode="auto">
          <a:xfrm>
            <a:off x="6878638" y="923798"/>
            <a:ext cx="1454150" cy="726589"/>
          </a:xfrm>
          <a:prstGeom prst="rect">
            <a:avLst/>
          </a:prstGeom>
          <a:noFill/>
          <a:ln w="15875">
            <a:solidFill>
              <a:srgbClr val="FF99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36000" rIns="0" bIns="36000" anchor="t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Envio do Status </a:t>
            </a:r>
            <a:r>
              <a:rPr lang="pt-BR" altLang="pt-BR" sz="900" b="1" dirty="0" err="1">
                <a:solidFill>
                  <a:prstClr val="black"/>
                </a:solidFill>
                <a:latin typeface="Simplon BP Regular" pitchFamily="2" charset="0"/>
              </a:rPr>
              <a:t>Report</a:t>
            </a:r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 pelos Fornecedores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úblico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PMO, GPs e </a:t>
            </a:r>
            <a:r>
              <a:rPr lang="pt-BR" altLang="pt-BR" sz="900" dirty="0" err="1">
                <a:solidFill>
                  <a:prstClr val="black"/>
                </a:solidFill>
                <a:latin typeface="Simplon BP Regular" pitchFamily="2" charset="0"/>
              </a:rPr>
              <a:t>RTs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8" name="Rectangle 47"/>
          <p:cNvSpPr>
            <a:spLocks noChangeArrowheads="1"/>
          </p:cNvSpPr>
          <p:nvPr/>
        </p:nvSpPr>
        <p:spPr bwMode="auto">
          <a:xfrm>
            <a:off x="6879975" y="1747197"/>
            <a:ext cx="1454400" cy="106677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/>
          <a:extLst/>
        </p:spPr>
        <p:txBody>
          <a:bodyPr lIns="18000" rIns="18000"/>
          <a:lstStyle/>
          <a:p>
            <a:pPr eaLnBrk="0">
              <a:defRPr/>
            </a:pPr>
            <a:r>
              <a:rPr lang="pt-BR" sz="900" b="1" dirty="0">
                <a:solidFill>
                  <a:prstClr val="black"/>
                </a:solidFill>
                <a:latin typeface="Simplon BP Regular" pitchFamily="2" charset="0"/>
              </a:rPr>
              <a:t>Reunião de Status com fornecedores </a:t>
            </a:r>
          </a:p>
          <a:p>
            <a:pPr eaLnBrk="0">
              <a:defRPr/>
            </a:pPr>
            <a:endParaRPr lang="pt-BR" sz="900" b="1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Participa: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GP, CT, Gestão 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de Testes, </a:t>
            </a:r>
            <a:r>
              <a:rPr lang="pt-BR" sz="900" dirty="0" err="1">
                <a:solidFill>
                  <a:prstClr val="black"/>
                </a:solidFill>
                <a:latin typeface="Simplon BP Regular" pitchFamily="2" charset="0"/>
              </a:rPr>
              <a:t>RTs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e PMO</a:t>
            </a:r>
            <a:endParaRPr lang="pt-BR" sz="900" i="1" kern="0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Foco: Cronograma, Riscos, </a:t>
            </a:r>
            <a:r>
              <a:rPr lang="pt-BR" sz="900" i="1" kern="0" dirty="0" err="1">
                <a:solidFill>
                  <a:prstClr val="black"/>
                </a:solidFill>
                <a:latin typeface="Simplon BP Regular" pitchFamily="2" charset="0"/>
              </a:rPr>
              <a:t>Issues</a:t>
            </a: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 e Pendências</a:t>
            </a:r>
            <a:endParaRPr 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30" name="Rectangle 68"/>
          <p:cNvSpPr>
            <a:spLocks noChangeArrowheads="1"/>
          </p:cNvSpPr>
          <p:nvPr/>
        </p:nvSpPr>
        <p:spPr bwMode="auto">
          <a:xfrm>
            <a:off x="582613" y="3004908"/>
            <a:ext cx="1454150" cy="981800"/>
          </a:xfrm>
          <a:prstGeom prst="rect">
            <a:avLst/>
          </a:prstGeom>
          <a:noFill/>
          <a:ln w="15875">
            <a:solidFill>
              <a:srgbClr val="FF954D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36000" rIns="0" bIns="36000" anchor="ctr" anchorCtr="0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 smtClean="0">
                <a:solidFill>
                  <a:prstClr val="black"/>
                </a:solidFill>
                <a:latin typeface="Simplon BP Regular" pitchFamily="2" charset="0"/>
              </a:rPr>
              <a:t>Acompanhamento e Atualização de Pendências para Core Team</a:t>
            </a:r>
          </a:p>
          <a:p>
            <a:pPr hangingPunct="1"/>
            <a:endParaRPr lang="pt-BR" altLang="pt-BR" sz="900" b="1" dirty="0">
              <a:solidFill>
                <a:prstClr val="black"/>
              </a:solidFill>
              <a:latin typeface="Simplon BP Regular" pitchFamily="2" charset="0"/>
            </a:endParaRP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.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Responsável pelas pendências em Aberto</a:t>
            </a:r>
          </a:p>
        </p:txBody>
      </p:sp>
    </p:spTree>
    <p:extLst>
      <p:ext uri="{BB962C8B-B14F-4D97-AF65-F5344CB8AC3E}">
        <p14:creationId xmlns:p14="http://schemas.microsoft.com/office/powerpoint/2010/main" val="720663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3882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/>
          <p:cNvSpPr>
            <a:spLocks noGrp="1"/>
          </p:cNvSpPr>
          <p:nvPr>
            <p:ph type="title"/>
          </p:nvPr>
        </p:nvSpPr>
        <p:spPr>
          <a:xfrm>
            <a:off x="468314" y="51470"/>
            <a:ext cx="8207374" cy="712786"/>
          </a:xfrm>
        </p:spPr>
        <p:txBody>
          <a:bodyPr/>
          <a:lstStyle/>
          <a:p>
            <a:r>
              <a:rPr lang="pt-BR" sz="3200" dirty="0" smtClean="0"/>
              <a:t>Índice</a:t>
            </a:r>
            <a:endParaRPr lang="pt-BR" sz="3200" dirty="0"/>
          </a:p>
        </p:txBody>
      </p:sp>
      <p:sp>
        <p:nvSpPr>
          <p:cNvPr id="4" name="Text Placeholder 3"/>
          <p:cNvSpPr>
            <a:spLocks noGrp="1"/>
          </p:cNvSpPr>
          <p:nvPr>
            <p:ph sz="quarter" idx="12"/>
          </p:nvPr>
        </p:nvSpPr>
        <p:spPr>
          <a:xfrm>
            <a:off x="468314" y="1131590"/>
            <a:ext cx="3887786" cy="3457574"/>
          </a:xfrm>
        </p:spPr>
        <p:txBody>
          <a:bodyPr/>
          <a:lstStyle/>
          <a:p>
            <a:r>
              <a:rPr lang="pt-BR" dirty="0" smtClean="0"/>
              <a:t>Cenário Atual – </a:t>
            </a:r>
            <a:r>
              <a:rPr lang="pt-BR" dirty="0" err="1" smtClean="0"/>
              <a:t>Anti-Fraudes</a:t>
            </a:r>
            <a:endParaRPr lang="pt-BR" dirty="0"/>
          </a:p>
          <a:p>
            <a:r>
              <a:rPr lang="pt-BR" dirty="0" smtClean="0"/>
              <a:t>Objetivo, Necessidade e Benefícios</a:t>
            </a:r>
          </a:p>
          <a:p>
            <a:r>
              <a:rPr lang="pt-BR" dirty="0" err="1"/>
              <a:t>Roadmap</a:t>
            </a:r>
            <a:r>
              <a:rPr lang="pt-BR" dirty="0"/>
              <a:t> de Implantação</a:t>
            </a:r>
          </a:p>
          <a:p>
            <a:r>
              <a:rPr lang="pt-BR" dirty="0" smtClean="0"/>
              <a:t>Macro Entregas do Programa</a:t>
            </a:r>
          </a:p>
          <a:p>
            <a:r>
              <a:rPr lang="pt-BR" dirty="0" smtClean="0"/>
              <a:t>Core Team</a:t>
            </a:r>
            <a:endParaRPr lang="pt-BR" dirty="0"/>
          </a:p>
          <a:p>
            <a:r>
              <a:rPr lang="pt-BR" dirty="0" smtClean="0"/>
              <a:t>Visão Macro da Solução</a:t>
            </a:r>
          </a:p>
          <a:p>
            <a:r>
              <a:rPr lang="pt-BR" dirty="0" smtClean="0"/>
              <a:t>Premissas </a:t>
            </a:r>
            <a:r>
              <a:rPr lang="pt-BR" dirty="0"/>
              <a:t>e Restrições</a:t>
            </a:r>
          </a:p>
          <a:p>
            <a:r>
              <a:rPr lang="pt-BR" dirty="0"/>
              <a:t>Riscos </a:t>
            </a:r>
            <a:r>
              <a:rPr lang="pt-BR" dirty="0" smtClean="0"/>
              <a:t>e </a:t>
            </a:r>
            <a:r>
              <a:rPr lang="pt-BR" dirty="0" err="1" smtClean="0"/>
              <a:t>Issues</a:t>
            </a:r>
            <a:endParaRPr lang="pt-BR" dirty="0"/>
          </a:p>
          <a:p>
            <a:r>
              <a:rPr lang="pt-BR" dirty="0" smtClean="0"/>
              <a:t>Resumo Financeiro</a:t>
            </a:r>
          </a:p>
          <a:p>
            <a:r>
              <a:rPr lang="pt-BR" dirty="0" smtClean="0"/>
              <a:t>Comunicação</a:t>
            </a:r>
          </a:p>
          <a:p>
            <a:r>
              <a:rPr lang="pt-BR" dirty="0" smtClean="0"/>
              <a:t>Agenda de Reuniõe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095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Imagem 44"/>
          <p:cNvPicPr>
            <a:picLocks noChangeAspect="1"/>
          </p:cNvPicPr>
          <p:nvPr/>
        </p:nvPicPr>
        <p:blipFill rotWithShape="1">
          <a:blip r:embed="rId21"/>
          <a:srcRect t="14110"/>
          <a:stretch/>
        </p:blipFill>
        <p:spPr>
          <a:xfrm>
            <a:off x="905118" y="3232925"/>
            <a:ext cx="3628642" cy="1784805"/>
          </a:xfrm>
          <a:prstGeom prst="rect">
            <a:avLst/>
          </a:prstGeom>
        </p:spPr>
      </p:pic>
      <p:graphicFrame>
        <p:nvGraphicFramePr>
          <p:cNvPr id="11" name="Objeto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" name="Slide do think-cell" r:id="rId22" imgW="421" imgH="420" progId="TCLayout.ActiveDocument.1">
                  <p:embed/>
                </p:oleObj>
              </mc:Choice>
              <mc:Fallback>
                <p:oleObj name="Slide do think-cell" r:id="rId22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1" name="CaixaDeTexto 110"/>
          <p:cNvSpPr txBox="1"/>
          <p:nvPr>
            <p:custDataLst>
              <p:tags r:id="rId4"/>
            </p:custDataLst>
          </p:nvPr>
        </p:nvSpPr>
        <p:spPr>
          <a:xfrm>
            <a:off x="5352916" y="657755"/>
            <a:ext cx="4455248" cy="300082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pPr defTabSz="457142" eaLnBrk="0" hangingPunct="0"/>
            <a:r>
              <a:rPr lang="pt-BR" sz="1500" dirty="0">
                <a:solidFill>
                  <a:srgbClr val="009AA6"/>
                </a:solidFill>
                <a:latin typeface="Simplon BP Bold" pitchFamily="2" charset="0"/>
                <a:cs typeface="Arial"/>
              </a:rPr>
              <a:t>FUNIL DE FRAUDES (R$ MM)</a:t>
            </a:r>
          </a:p>
        </p:txBody>
      </p:sp>
      <p:sp>
        <p:nvSpPr>
          <p:cNvPr id="122" name="Retângulo 121"/>
          <p:cNvSpPr/>
          <p:nvPr/>
        </p:nvSpPr>
        <p:spPr>
          <a:xfrm>
            <a:off x="5357773" y="687555"/>
            <a:ext cx="3720986" cy="2076305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prstClr val="white"/>
              </a:solidFill>
            </a:endParaRPr>
          </a:p>
        </p:txBody>
      </p:sp>
      <p:sp>
        <p:nvSpPr>
          <p:cNvPr id="139" name="Retângulo 138"/>
          <p:cNvSpPr/>
          <p:nvPr/>
        </p:nvSpPr>
        <p:spPr>
          <a:xfrm>
            <a:off x="914138" y="2855242"/>
            <a:ext cx="3709371" cy="2082397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prstClr val="white"/>
              </a:solidFill>
            </a:endParaRPr>
          </a:p>
        </p:txBody>
      </p:sp>
      <p:sp>
        <p:nvSpPr>
          <p:cNvPr id="143" name="CaixaDeTexto 142"/>
          <p:cNvSpPr txBox="1"/>
          <p:nvPr>
            <p:custDataLst>
              <p:tags r:id="rId5"/>
            </p:custDataLst>
          </p:nvPr>
        </p:nvSpPr>
        <p:spPr>
          <a:xfrm>
            <a:off x="947202" y="2848983"/>
            <a:ext cx="4391639" cy="407802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pPr defTabSz="457142" eaLnBrk="0" hangingPunct="0"/>
            <a:r>
              <a:rPr lang="pt-BR" sz="1100" dirty="0">
                <a:solidFill>
                  <a:srgbClr val="009AA6"/>
                </a:solidFill>
                <a:latin typeface="Simplon BP Bold" pitchFamily="2" charset="0"/>
                <a:cs typeface="Arial"/>
              </a:rPr>
              <a:t>NCOI + SUBSCRIÇÃO / VENDAS</a:t>
            </a:r>
          </a:p>
          <a:p>
            <a:pPr defTabSz="457142" eaLnBrk="0" hangingPunct="0"/>
            <a:endParaRPr lang="pt-BR" sz="1100" dirty="0">
              <a:solidFill>
                <a:srgbClr val="009AA6"/>
              </a:solidFill>
              <a:latin typeface="Simplon BP Bold" pitchFamily="2" charset="0"/>
              <a:cs typeface="Arial"/>
            </a:endParaRPr>
          </a:p>
        </p:txBody>
      </p:sp>
      <p:sp>
        <p:nvSpPr>
          <p:cNvPr id="77" name="CaixaDeTexto 76"/>
          <p:cNvSpPr txBox="1"/>
          <p:nvPr/>
        </p:nvSpPr>
        <p:spPr>
          <a:xfrm>
            <a:off x="5359510" y="878502"/>
            <a:ext cx="3719249" cy="35393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5998" tIns="45718" rIns="35998" bIns="45718" rtlCol="0">
            <a:spAutoFit/>
          </a:bodyPr>
          <a:lstStyle/>
          <a:p>
            <a:pPr algn="just" defTabSz="685766">
              <a:spcAft>
                <a:spcPts val="300"/>
              </a:spcAft>
            </a:pPr>
            <a:r>
              <a:rPr lang="pt-BR" sz="850" dirty="0" smtClean="0">
                <a:solidFill>
                  <a:prstClr val="black"/>
                </a:solidFill>
                <a:latin typeface="Simplon BP Light" pitchFamily="2" charset="0"/>
              </a:rPr>
              <a:t>DE 2014 A 2016 CUSTOS MAIORES ASSOCIADOS A PERDAS POR TRÁFEGO (LDI, ROAMING, SMS) EM 2017 50% DO CUSTO JEC E 30% INSTALAÇÃO/EQUIPAMENTOS</a:t>
            </a:r>
            <a:endParaRPr lang="pt-BR" sz="850" dirty="0">
              <a:solidFill>
                <a:prstClr val="black"/>
              </a:solidFill>
              <a:latin typeface="Simplon BP Light" pitchFamily="2" charset="0"/>
            </a:endParaRPr>
          </a:p>
        </p:txBody>
      </p:sp>
      <p:sp>
        <p:nvSpPr>
          <p:cNvPr id="89" name="Retângulo 88"/>
          <p:cNvSpPr/>
          <p:nvPr/>
        </p:nvSpPr>
        <p:spPr>
          <a:xfrm>
            <a:off x="914826" y="702306"/>
            <a:ext cx="3720986" cy="2076305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prstClr val="white"/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294967295"/>
          </p:nvPr>
        </p:nvSpPr>
        <p:spPr>
          <a:xfrm>
            <a:off x="8546491" y="4869657"/>
            <a:ext cx="612913" cy="273844"/>
          </a:xfrm>
          <a:prstGeom prst="rect">
            <a:avLst/>
          </a:prstGeom>
        </p:spPr>
        <p:txBody>
          <a:bodyPr lIns="68579" tIns="34289" rIns="68579" bIns="34289"/>
          <a:lstStyle/>
          <a:p>
            <a:pPr defTabSz="685766"/>
            <a:fld id="{CBCBB3E3-89EF-4BEB-9722-609BA5B45A0F}" type="slidenum">
              <a:rPr lang="pt-BR" smtClean="0">
                <a:solidFill>
                  <a:prstClr val="black"/>
                </a:solidFill>
              </a:rPr>
              <a:pPr defTabSz="685766"/>
              <a:t>3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41" name="CaixaDeTexto 5"/>
          <p:cNvSpPr txBox="1"/>
          <p:nvPr/>
        </p:nvSpPr>
        <p:spPr>
          <a:xfrm>
            <a:off x="8222837" y="1322926"/>
            <a:ext cx="752240" cy="30777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lIns="91436" tIns="45718" rIns="91436" bIns="45718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66"/>
            <a:r>
              <a:rPr lang="pt-BR" sz="700" dirty="0">
                <a:solidFill>
                  <a:prstClr val="black"/>
                </a:solidFill>
                <a:latin typeface="Simplon BP Bold" pitchFamily="2" charset="0"/>
              </a:rPr>
              <a:t>	</a:t>
            </a:r>
            <a:r>
              <a:rPr lang="pt-BR" sz="700" dirty="0" smtClean="0">
                <a:solidFill>
                  <a:prstClr val="black"/>
                </a:solidFill>
                <a:latin typeface="Simplon BP Bold" pitchFamily="2" charset="0"/>
              </a:rPr>
              <a:t>4T17 VS 4T16</a:t>
            </a:r>
            <a:endParaRPr lang="pt-BR" sz="700" dirty="0">
              <a:solidFill>
                <a:prstClr val="black"/>
              </a:solidFill>
              <a:latin typeface="Simplon BP Bold" pitchFamily="2" charset="0"/>
            </a:endParaRPr>
          </a:p>
        </p:txBody>
      </p:sp>
      <p:graphicFrame>
        <p:nvGraphicFramePr>
          <p:cNvPr id="35" name="Gráfico 34"/>
          <p:cNvGraphicFramePr>
            <a:graphicFrameLocks/>
          </p:cNvGraphicFramePr>
          <p:nvPr>
            <p:extLst/>
          </p:nvPr>
        </p:nvGraphicFramePr>
        <p:xfrm>
          <a:off x="5243018" y="1355623"/>
          <a:ext cx="3074869" cy="14877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47" name="CaixaDeTexto 46"/>
          <p:cNvSpPr txBox="1"/>
          <p:nvPr>
            <p:custDataLst>
              <p:tags r:id="rId6"/>
            </p:custDataLst>
          </p:nvPr>
        </p:nvSpPr>
        <p:spPr>
          <a:xfrm>
            <a:off x="889387" y="689251"/>
            <a:ext cx="4455248" cy="284691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pPr defTabSz="457142" eaLnBrk="0" hangingPunct="0"/>
            <a:r>
              <a:rPr lang="pt-BR" sz="1400" dirty="0" smtClean="0">
                <a:solidFill>
                  <a:srgbClr val="009AA6"/>
                </a:solidFill>
                <a:latin typeface="Simplon BP Bold" pitchFamily="2" charset="0"/>
                <a:cs typeface="Arial"/>
              </a:rPr>
              <a:t>PERDA 2017 41% MENOS QUE 2016</a:t>
            </a:r>
            <a:endParaRPr lang="pt-BR" sz="1400" dirty="0">
              <a:solidFill>
                <a:srgbClr val="009AA6"/>
              </a:solidFill>
              <a:latin typeface="Simplon BP Bold" pitchFamily="2" charset="0"/>
              <a:cs typeface="Arial"/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/>
          </p:nvPr>
        </p:nvGraphicFramePr>
        <p:xfrm>
          <a:off x="8290490" y="1759165"/>
          <a:ext cx="761187" cy="895350"/>
        </p:xfrm>
        <a:graphic>
          <a:graphicData uri="http://schemas.openxmlformats.org/drawingml/2006/table">
            <a:tbl>
              <a:tblPr/>
              <a:tblGrid>
                <a:gridCol w="4843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67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D/ ODC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M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T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D0A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TAL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0" name="Title 22"/>
          <p:cNvSpPr txBox="1">
            <a:spLocks/>
          </p:cNvSpPr>
          <p:nvPr/>
        </p:nvSpPr>
        <p:spPr>
          <a:xfrm>
            <a:off x="2231" y="-1888"/>
            <a:ext cx="78589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000">
                <a:solidFill>
                  <a:srgbClr val="7030A0"/>
                </a:solidFill>
                <a:latin typeface="Simplon Oi Headline" pitchFamily="2" charset="0"/>
              </a:defRPr>
            </a:lvl1pPr>
          </a:lstStyle>
          <a:p>
            <a:pPr>
              <a:spcBef>
                <a:spcPct val="0"/>
              </a:spcBef>
            </a:pPr>
            <a:r>
              <a:rPr lang="pt-BR" sz="3200" dirty="0" smtClean="0">
                <a:solidFill>
                  <a:srgbClr val="00D318"/>
                </a:solidFill>
                <a:latin typeface="Simplon Oi Headline"/>
                <a:ea typeface="ＭＳ Ｐゴシック" charset="0"/>
                <a:cs typeface="Simplon Oi Headline"/>
              </a:rPr>
              <a:t>Cenário Atual </a:t>
            </a:r>
            <a:r>
              <a:rPr lang="pt-BR" sz="3200" dirty="0" err="1" smtClean="0">
                <a:solidFill>
                  <a:srgbClr val="00D318"/>
                </a:solidFill>
                <a:latin typeface="Simplon Oi Headline"/>
                <a:ea typeface="ＭＳ Ｐゴシック" charset="0"/>
                <a:cs typeface="Simplon Oi Headline"/>
              </a:rPr>
              <a:t>Anti-Fraudes</a:t>
            </a:r>
            <a:endParaRPr lang="en-US" sz="3200" dirty="0">
              <a:solidFill>
                <a:srgbClr val="00D318"/>
              </a:solidFill>
              <a:latin typeface="Simplon Oi Headline"/>
              <a:ea typeface="ＭＳ Ｐゴシック" charset="0"/>
              <a:cs typeface="Simplon Oi Headline"/>
            </a:endParaRPr>
          </a:p>
        </p:txBody>
      </p:sp>
      <p:sp>
        <p:nvSpPr>
          <p:cNvPr id="51" name="CaixaDeTexto 50"/>
          <p:cNvSpPr txBox="1"/>
          <p:nvPr>
            <p:custDataLst>
              <p:tags r:id="rId7"/>
            </p:custDataLst>
          </p:nvPr>
        </p:nvSpPr>
        <p:spPr>
          <a:xfrm>
            <a:off x="426011" y="215328"/>
            <a:ext cx="9140825" cy="55361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/>
          <a:lstStyle>
            <a:defPPr>
              <a:defRPr lang="en-US"/>
            </a:defPPr>
            <a:lvl1pPr>
              <a:lnSpc>
                <a:spcPts val="4200"/>
              </a:lnSpc>
              <a:spcBef>
                <a:spcPts val="0"/>
              </a:spcBef>
              <a:buNone/>
              <a:defRPr sz="2800" b="0" i="0" baseline="0">
                <a:solidFill>
                  <a:srgbClr val="00A596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pt-BR" sz="900" dirty="0" smtClean="0">
                <a:solidFill>
                  <a:prstClr val="black"/>
                </a:solidFill>
                <a:latin typeface="Simplon BP Light" pitchFamily="2" charset="0"/>
              </a:rPr>
              <a:t>80% DO CUSTO FRAUDE EM 2017 ASSOCIADO A JEC E EQUIPAMENTOS/INSTALAÇÃO. NOVA REDUÇÃO DEPENDE DE MAIOR PREVENÇÃO NO MOMENTO DA VENDA</a:t>
            </a:r>
            <a:endParaRPr lang="pt-BR" sz="900" dirty="0">
              <a:solidFill>
                <a:prstClr val="black"/>
              </a:solidFill>
              <a:latin typeface="Simplon BP Light" pitchFamily="2" charset="0"/>
            </a:endParaRPr>
          </a:p>
        </p:txBody>
      </p:sp>
      <p:sp>
        <p:nvSpPr>
          <p:cNvPr id="52" name="Retângulo 51"/>
          <p:cNvSpPr/>
          <p:nvPr/>
        </p:nvSpPr>
        <p:spPr>
          <a:xfrm>
            <a:off x="251520" y="2872499"/>
            <a:ext cx="576064" cy="2066628"/>
          </a:xfrm>
          <a:prstGeom prst="rect">
            <a:avLst/>
          </a:prstGeom>
          <a:solidFill>
            <a:srgbClr val="AE3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t-BR" sz="1400" dirty="0" smtClean="0">
                <a:solidFill>
                  <a:prstClr val="white"/>
                </a:solidFill>
                <a:latin typeface="Simplon BP Bold" pitchFamily="2" charset="0"/>
              </a:rPr>
              <a:t>FRAUDE /VENDAS</a:t>
            </a:r>
            <a:endParaRPr lang="pt-BR" sz="1400" dirty="0">
              <a:solidFill>
                <a:prstClr val="white"/>
              </a:solidFill>
              <a:latin typeface="Simplon BP Bold" pitchFamily="2" charset="0"/>
            </a:endParaRPr>
          </a:p>
        </p:txBody>
      </p:sp>
      <p:sp>
        <p:nvSpPr>
          <p:cNvPr id="54" name="Retângulo 53"/>
          <p:cNvSpPr/>
          <p:nvPr/>
        </p:nvSpPr>
        <p:spPr>
          <a:xfrm>
            <a:off x="260206" y="694273"/>
            <a:ext cx="576064" cy="2072990"/>
          </a:xfrm>
          <a:prstGeom prst="rect">
            <a:avLst/>
          </a:prstGeom>
          <a:solidFill>
            <a:srgbClr val="AE3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t-BR" sz="1400" dirty="0" smtClean="0">
                <a:solidFill>
                  <a:prstClr val="white"/>
                </a:solidFill>
                <a:latin typeface="Simplon BP Bold" pitchFamily="2" charset="0"/>
              </a:rPr>
              <a:t>GANHO FINANCEIRO</a:t>
            </a:r>
            <a:endParaRPr lang="pt-BR" sz="1400" dirty="0">
              <a:solidFill>
                <a:prstClr val="white"/>
              </a:solidFill>
              <a:latin typeface="Simplon BP Bold" pitchFamily="2" charset="0"/>
            </a:endParaRPr>
          </a:p>
        </p:txBody>
      </p:sp>
      <p:sp>
        <p:nvSpPr>
          <p:cNvPr id="55" name="Retângulo 54"/>
          <p:cNvSpPr/>
          <p:nvPr/>
        </p:nvSpPr>
        <p:spPr>
          <a:xfrm>
            <a:off x="4708392" y="695625"/>
            <a:ext cx="576064" cy="2082985"/>
          </a:xfrm>
          <a:prstGeom prst="rect">
            <a:avLst/>
          </a:prstGeom>
          <a:solidFill>
            <a:srgbClr val="AE3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t-BR" sz="1400" dirty="0">
                <a:solidFill>
                  <a:prstClr val="white"/>
                </a:solidFill>
                <a:latin typeface="Simplon BP Bold" pitchFamily="2" charset="0"/>
              </a:rPr>
              <a:t>PERDAS IDENTIFICADAS</a:t>
            </a:r>
          </a:p>
        </p:txBody>
      </p:sp>
      <p:graphicFrame>
        <p:nvGraphicFramePr>
          <p:cNvPr id="2" name="Objeto 1"/>
          <p:cNvGraphicFramePr>
            <a:graphicFrameLocks/>
          </p:cNvGraphicFramePr>
          <p:nvPr>
            <p:custDataLst>
              <p:tags r:id="rId8"/>
            </p:custDataLst>
            <p:extLst/>
          </p:nvPr>
        </p:nvGraphicFramePr>
        <p:xfrm>
          <a:off x="838201" y="1219199"/>
          <a:ext cx="3809867" cy="1343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" name="Gráfico" r:id="rId25" imgW="3809871" imgH="1342996" progId="MSGraph.Chart.8">
                  <p:embed followColorScheme="full"/>
                </p:oleObj>
              </mc:Choice>
              <mc:Fallback>
                <p:oleObj name="Gráfico" r:id="rId25" imgW="3809871" imgH="1342996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838201" y="1219199"/>
                        <a:ext cx="3809867" cy="1343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Conector reto 17"/>
          <p:cNvCxnSpPr/>
          <p:nvPr>
            <p:custDataLst>
              <p:tags r:id="rId9"/>
            </p:custDataLst>
          </p:nvPr>
        </p:nvCxnSpPr>
        <p:spPr bwMode="auto">
          <a:xfrm flipV="1">
            <a:off x="3200400" y="1200150"/>
            <a:ext cx="0" cy="723900"/>
          </a:xfrm>
          <a:prstGeom prst="line">
            <a:avLst/>
          </a:prstGeom>
          <a:ln w="12700" cmpd="sng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/>
          <p:cNvCxnSpPr/>
          <p:nvPr>
            <p:custDataLst>
              <p:tags r:id="rId10"/>
            </p:custDataLst>
          </p:nvPr>
        </p:nvCxnSpPr>
        <p:spPr bwMode="auto">
          <a:xfrm>
            <a:off x="4095750" y="1200150"/>
            <a:ext cx="0" cy="923925"/>
          </a:xfrm>
          <a:prstGeom prst="line">
            <a:avLst/>
          </a:prstGeom>
          <a:ln w="12700" cmpd="sng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/>
          <p:nvPr>
            <p:custDataLst>
              <p:tags r:id="rId11"/>
            </p:custDataLst>
          </p:nvPr>
        </p:nvCxnSpPr>
        <p:spPr bwMode="auto">
          <a:xfrm flipV="1">
            <a:off x="1400175" y="1200150"/>
            <a:ext cx="0" cy="76200"/>
          </a:xfrm>
          <a:prstGeom prst="line">
            <a:avLst/>
          </a:prstGeom>
          <a:ln w="12700" cmpd="sng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>
            <p:custDataLst>
              <p:tags r:id="rId12"/>
            </p:custDataLst>
          </p:nvPr>
        </p:nvCxnSpPr>
        <p:spPr bwMode="auto">
          <a:xfrm>
            <a:off x="1400175" y="1200150"/>
            <a:ext cx="2695575" cy="0"/>
          </a:xfrm>
          <a:prstGeom prst="line">
            <a:avLst/>
          </a:prstGeom>
          <a:ln w="12700" cmpd="sng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Elipse 12"/>
          <p:cNvSpPr/>
          <p:nvPr>
            <p:custDataLst>
              <p:tags r:id="rId13"/>
            </p:custDataLst>
          </p:nvPr>
        </p:nvSpPr>
        <p:spPr bwMode="auto">
          <a:xfrm>
            <a:off x="2079625" y="1082675"/>
            <a:ext cx="442913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F2A22C1-92EB-4990-BAE0-F0F285F246AE}" type="datetime'''''''-''''7''5%'''''''''''''''''''''">
              <a:rPr lang="pt-BR" altLang="en-US" sz="1200" b="1">
                <a:solidFill>
                  <a:prstClr val="black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75%</a:t>
            </a:fld>
            <a:endParaRPr lang="pt-BR" sz="1200" b="1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Retângulo 2"/>
          <p:cNvSpPr/>
          <p:nvPr>
            <p:custDataLst>
              <p:tags r:id="rId14"/>
            </p:custDataLst>
          </p:nvPr>
        </p:nvSpPr>
        <p:spPr bwMode="auto">
          <a:xfrm>
            <a:off x="1238250" y="2546350"/>
            <a:ext cx="323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D36B421-064D-4C4B-A129-D62AB30012E5}" type="datetime'''''''''''''2''0''''''''''''''1''''''''''''''''''4'''''''''''">
              <a:rPr lang="pt-BR" altLang="en-US" sz="1200">
                <a:solidFill>
                  <a:prstClr val="black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pt-BR" sz="1200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Retângulo 8"/>
          <p:cNvSpPr/>
          <p:nvPr>
            <p:custDataLst>
              <p:tags r:id="rId15"/>
            </p:custDataLst>
          </p:nvPr>
        </p:nvSpPr>
        <p:spPr bwMode="auto">
          <a:xfrm>
            <a:off x="3038475" y="2546350"/>
            <a:ext cx="323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B2CAD4C-463F-4C3F-8427-FE9490A1E876}" type="datetime'''''''2''''''0''''''''''''1''''''''''''''''''''6'''''''''">
              <a:rPr lang="pt-BR" altLang="en-US" sz="1200">
                <a:solidFill>
                  <a:prstClr val="black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pt-BR" sz="1200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Retângulo 7"/>
          <p:cNvSpPr/>
          <p:nvPr>
            <p:custDataLst>
              <p:tags r:id="rId16"/>
            </p:custDataLst>
          </p:nvPr>
        </p:nvSpPr>
        <p:spPr bwMode="auto">
          <a:xfrm>
            <a:off x="2138363" y="2546350"/>
            <a:ext cx="323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2F5AF9C-BB02-4E8F-B89E-2ACC3AD471D7}" type="datetime'''''''2''''''''''''''''''''''0''''1''''''''''5'''''''''''">
              <a:rPr lang="pt-BR" altLang="en-US" sz="1200">
                <a:solidFill>
                  <a:prstClr val="black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pt-BR" sz="1200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6" name="Retângulo 55"/>
          <p:cNvSpPr/>
          <p:nvPr>
            <p:custDataLst>
              <p:tags r:id="rId17"/>
            </p:custDataLst>
          </p:nvPr>
        </p:nvSpPr>
        <p:spPr bwMode="auto">
          <a:xfrm>
            <a:off x="3933825" y="2546350"/>
            <a:ext cx="323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5B4D9C0-644F-4790-9EE6-BDF152D34EE9}" type="datetime'''''''''2''''''0''1''''''''7'">
              <a:rPr lang="pt-BR" altLang="en-US" sz="1200">
                <a:solidFill>
                  <a:prstClr val="black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pt-BR" sz="1200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Elipse 16"/>
          <p:cNvSpPr/>
          <p:nvPr>
            <p:custDataLst>
              <p:tags r:id="rId18"/>
            </p:custDataLst>
          </p:nvPr>
        </p:nvSpPr>
        <p:spPr bwMode="auto">
          <a:xfrm>
            <a:off x="3427413" y="1082675"/>
            <a:ext cx="442913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EEA2C2D-AAE6-44FC-8632-BB8016D58BBB}" type="datetime'-4''''''''''''''''''''1''''%'''''''''''''''''''''''''''''''">
              <a:rPr lang="pt-BR" altLang="en-US" sz="1200" b="1">
                <a:solidFill>
                  <a:prstClr val="black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41%</a:t>
            </a:fld>
            <a:endParaRPr lang="pt-BR" sz="1200" b="1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9" name="Rounded Rectangle 4"/>
          <p:cNvSpPr/>
          <p:nvPr/>
        </p:nvSpPr>
        <p:spPr>
          <a:xfrm>
            <a:off x="4671624" y="2878139"/>
            <a:ext cx="4392000" cy="2078037"/>
          </a:xfrm>
          <a:prstGeom prst="roundRect">
            <a:avLst>
              <a:gd name="adj" fmla="val 3460"/>
            </a:avLst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457189"/>
            <a:endParaRPr lang="pt-BR" sz="100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7" name="CaixaDeTexto 56"/>
          <p:cNvSpPr txBox="1"/>
          <p:nvPr/>
        </p:nvSpPr>
        <p:spPr>
          <a:xfrm>
            <a:off x="4833708" y="2940953"/>
            <a:ext cx="4154967" cy="19441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Tx/>
              <a:buChar char="-"/>
            </a:pPr>
            <a:endParaRPr lang="pt-BR" sz="1200" dirty="0" smtClean="0">
              <a:latin typeface="Simplon Oi Headline" pitchFamily="2" charset="0"/>
            </a:endParaRPr>
          </a:p>
          <a:p>
            <a:pPr marL="285750" indent="-285750">
              <a:buFontTx/>
              <a:buChar char="-"/>
            </a:pPr>
            <a:r>
              <a:rPr lang="pt-BR" sz="1200" dirty="0" smtClean="0">
                <a:latin typeface="Simplon Oi Headline" pitchFamily="2" charset="0"/>
              </a:rPr>
              <a:t>o % de fraude nas vendas da Oi  é &gt; 5% </a:t>
            </a:r>
          </a:p>
          <a:p>
            <a:r>
              <a:rPr lang="pt-BR" sz="1050" dirty="0" smtClean="0">
                <a:latin typeface="Simplon Oi Headline" pitchFamily="2" charset="0"/>
              </a:rPr>
              <a:t>Obs.: perdas piores que  benchmarking Vivo 3,5%</a:t>
            </a:r>
          </a:p>
          <a:p>
            <a:endParaRPr lang="pt-BR" sz="500" dirty="0" smtClean="0">
              <a:latin typeface="Simplon Oi Headline" pitchFamily="2" charset="0"/>
            </a:endParaRPr>
          </a:p>
          <a:p>
            <a:pPr marL="283155" indent="-285750">
              <a:buFontTx/>
              <a:buChar char="-"/>
            </a:pPr>
            <a:r>
              <a:rPr lang="pt-BR" sz="1200" dirty="0" smtClean="0">
                <a:latin typeface="Simplon Oi Headline" pitchFamily="2" charset="0"/>
              </a:rPr>
              <a:t>Ferramenta atual não preveni fraude no momento da venda p/</a:t>
            </a:r>
            <a:r>
              <a:rPr lang="pt-BR" sz="1200" dirty="0" err="1" smtClean="0">
                <a:latin typeface="Simplon Oi Headline" pitchFamily="2" charset="0"/>
              </a:rPr>
              <a:t>tv</a:t>
            </a:r>
            <a:r>
              <a:rPr lang="pt-BR" sz="1200" dirty="0" smtClean="0">
                <a:latin typeface="Simplon Oi Headline" pitchFamily="2" charset="0"/>
              </a:rPr>
              <a:t> e fixa r2 e sem flexibilidade para regras complexas e modelos estatísticos avançados</a:t>
            </a:r>
          </a:p>
          <a:p>
            <a:pPr marL="283155" indent="-285750">
              <a:buFontTx/>
              <a:buChar char="-"/>
            </a:pPr>
            <a:endParaRPr lang="pt-BR" sz="600" dirty="0" smtClean="0">
              <a:latin typeface="Simplon Oi Headline" pitchFamily="2" charset="0"/>
            </a:endParaRPr>
          </a:p>
          <a:p>
            <a:pPr marL="283155" indent="-285750">
              <a:buFontTx/>
              <a:buChar char="-"/>
            </a:pPr>
            <a:r>
              <a:rPr lang="pt-BR" sz="1200" dirty="0" smtClean="0">
                <a:latin typeface="Simplon Oi Headline" pitchFamily="2" charset="0"/>
              </a:rPr>
              <a:t>Baixa produtividade nas </a:t>
            </a:r>
            <a:r>
              <a:rPr lang="pt-BR" sz="1200" dirty="0" err="1" smtClean="0">
                <a:latin typeface="Simplon Oi Headline" pitchFamily="2" charset="0"/>
              </a:rPr>
              <a:t>pas</a:t>
            </a:r>
            <a:r>
              <a:rPr lang="pt-BR" sz="1200" dirty="0" smtClean="0">
                <a:latin typeface="Simplon Oi Headline" pitchFamily="2" charset="0"/>
              </a:rPr>
              <a:t> para identificação de fraude (</a:t>
            </a:r>
            <a:r>
              <a:rPr lang="pt-BR" sz="1200" u="sng" dirty="0" smtClean="0">
                <a:latin typeface="Simplon Oi Headline" pitchFamily="2" charset="0"/>
              </a:rPr>
              <a:t>+</a:t>
            </a:r>
            <a:r>
              <a:rPr lang="pt-BR" sz="1200" dirty="0" smtClean="0">
                <a:latin typeface="Simplon Oi Headline" pitchFamily="2" charset="0"/>
              </a:rPr>
              <a:t> 170 </a:t>
            </a:r>
            <a:r>
              <a:rPr lang="pt-BR" sz="1200" dirty="0" err="1" smtClean="0">
                <a:latin typeface="Simplon Oi Headline" pitchFamily="2" charset="0"/>
              </a:rPr>
              <a:t>pas</a:t>
            </a:r>
            <a:r>
              <a:rPr lang="pt-BR" sz="1200" dirty="0" smtClean="0">
                <a:latin typeface="Simplon Oi Headline" pitchFamily="2" charset="0"/>
              </a:rPr>
              <a:t> </a:t>
            </a:r>
            <a:r>
              <a:rPr lang="pt-BR" sz="1200" u="sng" dirty="0" smtClean="0">
                <a:latin typeface="Simplon Oi Headline" pitchFamily="2" charset="0"/>
              </a:rPr>
              <a:t>+</a:t>
            </a:r>
            <a:r>
              <a:rPr lang="pt-BR" sz="1200" dirty="0" smtClean="0">
                <a:latin typeface="Simplon Oi Headline" pitchFamily="2" charset="0"/>
              </a:rPr>
              <a:t>R$20MM ano)</a:t>
            </a:r>
            <a:endParaRPr lang="pt-BR" sz="1200" u="sng" dirty="0">
              <a:latin typeface="Simplon Oi Headline" pitchFamily="2" charset="0"/>
            </a:endParaRPr>
          </a:p>
          <a:p>
            <a:pPr>
              <a:lnSpc>
                <a:spcPts val="1800"/>
              </a:lnSpc>
              <a:spcBef>
                <a:spcPts val="800"/>
              </a:spcBef>
            </a:pPr>
            <a:endParaRPr lang="pt-BR" sz="1200" dirty="0" smtClean="0">
              <a:latin typeface="Simplon Oi Headline" pitchFamily="2" charset="0"/>
            </a:endParaRPr>
          </a:p>
        </p:txBody>
      </p:sp>
      <p:sp>
        <p:nvSpPr>
          <p:cNvPr id="58" name="CaixaDeTexto 57"/>
          <p:cNvSpPr txBox="1"/>
          <p:nvPr/>
        </p:nvSpPr>
        <p:spPr>
          <a:xfrm>
            <a:off x="914140" y="3040235"/>
            <a:ext cx="3695984" cy="2154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5998" tIns="45718" rIns="35998" bIns="45718" rtlCol="0">
            <a:spAutoFit/>
          </a:bodyPr>
          <a:lstStyle/>
          <a:p>
            <a:pPr algn="just" defTabSz="685766">
              <a:spcAft>
                <a:spcPts val="300"/>
              </a:spcAft>
            </a:pPr>
            <a:r>
              <a:rPr lang="pt-BR" sz="800" dirty="0">
                <a:solidFill>
                  <a:prstClr val="black"/>
                </a:solidFill>
                <a:latin typeface="Simplon BP Light" pitchFamily="2" charset="0"/>
              </a:rPr>
              <a:t>A Móvel responde por 63% das fraudes nas </a:t>
            </a:r>
            <a:r>
              <a:rPr lang="pt-BR" sz="800" dirty="0" smtClean="0">
                <a:solidFill>
                  <a:prstClr val="black"/>
                </a:solidFill>
                <a:latin typeface="Simplon BP Light" pitchFamily="2" charset="0"/>
              </a:rPr>
              <a:t>vendas. </a:t>
            </a:r>
            <a:endParaRPr lang="pt-BR" sz="800" dirty="0">
              <a:solidFill>
                <a:prstClr val="black"/>
              </a:solidFill>
              <a:latin typeface="Simplon BP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1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/>
          </p:nvPr>
        </p:nvSpPr>
        <p:spPr>
          <a:xfrm>
            <a:off x="107504" y="51470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3200" dirty="0"/>
              <a:t>Objetivo, </a:t>
            </a:r>
            <a:r>
              <a:rPr lang="pt-BR" sz="3200" dirty="0" smtClean="0"/>
              <a:t>Necessidades </a:t>
            </a:r>
            <a:r>
              <a:rPr lang="pt-BR" sz="3200" dirty="0"/>
              <a:t>e </a:t>
            </a:r>
            <a:r>
              <a:rPr lang="pt-BR" sz="3200" dirty="0" smtClean="0"/>
              <a:t>Benefícios </a:t>
            </a:r>
            <a:endParaRPr lang="pt-BR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179512" y="915566"/>
            <a:ext cx="6768752" cy="3672408"/>
          </a:xfrm>
        </p:spPr>
        <p:txBody>
          <a:bodyPr/>
          <a:lstStyle/>
          <a:p>
            <a:pPr marL="0" indent="0" algn="just">
              <a:buNone/>
            </a:pPr>
            <a:r>
              <a:rPr lang="pt-BR" altLang="pt-BR" sz="1100" b="1" u="sng" dirty="0" smtClean="0"/>
              <a:t>OBJETIVO:</a:t>
            </a:r>
          </a:p>
          <a:p>
            <a:pPr marL="285750" lvl="1" indent="-285750" algn="just">
              <a:defRPr/>
            </a:pPr>
            <a:r>
              <a:rPr lang="en-US" sz="1050" dirty="0" err="1"/>
              <a:t>Unificar</a:t>
            </a:r>
            <a:r>
              <a:rPr lang="en-US" sz="1050" dirty="0"/>
              <a:t> </a:t>
            </a:r>
            <a:r>
              <a:rPr lang="en-US" sz="1050" dirty="0" err="1"/>
              <a:t>os</a:t>
            </a:r>
            <a:r>
              <a:rPr lang="en-US" sz="1050" dirty="0"/>
              <a:t> </a:t>
            </a:r>
            <a:r>
              <a:rPr lang="en-US" sz="1050" dirty="0" err="1"/>
              <a:t>processos</a:t>
            </a:r>
            <a:r>
              <a:rPr lang="en-US" sz="1050" dirty="0"/>
              <a:t> de </a:t>
            </a:r>
            <a:r>
              <a:rPr lang="en-US" sz="1050" dirty="0" err="1"/>
              <a:t>Gestão</a:t>
            </a:r>
            <a:r>
              <a:rPr lang="en-US" sz="1050" dirty="0"/>
              <a:t> de </a:t>
            </a:r>
            <a:r>
              <a:rPr lang="en-US" sz="1050" dirty="0" err="1"/>
              <a:t>Fraudes</a:t>
            </a:r>
            <a:r>
              <a:rPr lang="en-US" sz="1050" dirty="0"/>
              <a:t> e </a:t>
            </a:r>
            <a:r>
              <a:rPr lang="en-US" sz="1050" dirty="0" err="1"/>
              <a:t>habilitar</a:t>
            </a:r>
            <a:r>
              <a:rPr lang="en-US" sz="1050" dirty="0"/>
              <a:t> as </a:t>
            </a:r>
            <a:r>
              <a:rPr lang="en-US" sz="1050" dirty="0" err="1"/>
              <a:t>capacidades</a:t>
            </a:r>
            <a:r>
              <a:rPr lang="en-US" sz="1050" dirty="0"/>
              <a:t> para a </a:t>
            </a:r>
            <a:r>
              <a:rPr lang="en-US" sz="1050" dirty="0" err="1"/>
              <a:t>T</a:t>
            </a:r>
            <a:r>
              <a:rPr lang="en-US" sz="1050" dirty="0" err="1" smtClean="0"/>
              <a:t>ransformação</a:t>
            </a:r>
            <a:r>
              <a:rPr lang="en-US" sz="1050" dirty="0" smtClean="0"/>
              <a:t> Digital </a:t>
            </a:r>
            <a:r>
              <a:rPr lang="en-US" sz="1050" dirty="0" err="1"/>
              <a:t>na</a:t>
            </a:r>
            <a:r>
              <a:rPr lang="en-US" sz="1050" dirty="0"/>
              <a:t> Oi</a:t>
            </a:r>
          </a:p>
          <a:p>
            <a:pPr marL="0" indent="0">
              <a:buNone/>
            </a:pPr>
            <a:endParaRPr lang="pt-BR" altLang="pt-BR" sz="1100" b="1" u="sng" dirty="0" smtClean="0"/>
          </a:p>
          <a:p>
            <a:pPr marL="0" indent="0">
              <a:buNone/>
            </a:pPr>
            <a:r>
              <a:rPr lang="pt-BR" altLang="pt-BR" sz="1100" b="1" u="sng" dirty="0" smtClean="0"/>
              <a:t>DESCRIÇÃO DA NECESSIDADE OU PROBLEMA:</a:t>
            </a:r>
            <a:endParaRPr lang="pt-BR" altLang="pt-BR" sz="1100" b="1" u="sng" dirty="0"/>
          </a:p>
          <a:p>
            <a:pPr algn="just">
              <a:defRPr/>
            </a:pPr>
            <a:r>
              <a:rPr lang="en-US" sz="1050" dirty="0" err="1" smtClean="0"/>
              <a:t>Solução</a:t>
            </a:r>
            <a:r>
              <a:rPr lang="en-US" sz="1050" dirty="0" smtClean="0"/>
              <a:t> </a:t>
            </a:r>
            <a:r>
              <a:rPr lang="en-US" sz="1050" dirty="0" err="1"/>
              <a:t>atual</a:t>
            </a:r>
            <a:r>
              <a:rPr lang="en-US" sz="1050" dirty="0"/>
              <a:t> </a:t>
            </a:r>
            <a:r>
              <a:rPr lang="en-US" sz="1050" dirty="0" err="1"/>
              <a:t>segregada</a:t>
            </a:r>
            <a:r>
              <a:rPr lang="en-US" sz="1050" dirty="0"/>
              <a:t> </a:t>
            </a:r>
            <a:r>
              <a:rPr lang="en-US" sz="1050" dirty="0" err="1"/>
              <a:t>por</a:t>
            </a:r>
            <a:r>
              <a:rPr lang="en-US" sz="1050" dirty="0"/>
              <a:t> </a:t>
            </a:r>
            <a:r>
              <a:rPr lang="en-US" sz="1050" dirty="0" err="1"/>
              <a:t>regiões</a:t>
            </a:r>
            <a:r>
              <a:rPr lang="en-US" sz="1050" dirty="0"/>
              <a:t>, </a:t>
            </a:r>
            <a:r>
              <a:rPr lang="en-US" sz="1050" dirty="0" err="1"/>
              <a:t>produtos</a:t>
            </a:r>
            <a:r>
              <a:rPr lang="en-US" sz="1050" dirty="0"/>
              <a:t> e </a:t>
            </a:r>
            <a:r>
              <a:rPr lang="en-US" sz="1050" dirty="0" err="1" smtClean="0"/>
              <a:t>serviços</a:t>
            </a:r>
            <a:endParaRPr lang="en-US" sz="1050" dirty="0"/>
          </a:p>
          <a:p>
            <a:pPr algn="just">
              <a:defRPr/>
            </a:pPr>
            <a:r>
              <a:rPr lang="en-US" sz="1050" dirty="0" err="1"/>
              <a:t>Ausência</a:t>
            </a:r>
            <a:r>
              <a:rPr lang="en-US" sz="1050" dirty="0"/>
              <a:t> de </a:t>
            </a:r>
            <a:r>
              <a:rPr lang="en-US" sz="1050" dirty="0" err="1"/>
              <a:t>visão</a:t>
            </a:r>
            <a:r>
              <a:rPr lang="en-US" sz="1050" dirty="0"/>
              <a:t> </a:t>
            </a:r>
            <a:r>
              <a:rPr lang="en-US" sz="1050" dirty="0" err="1"/>
              <a:t>unificada</a:t>
            </a:r>
            <a:r>
              <a:rPr lang="en-US" sz="1050" dirty="0"/>
              <a:t> dos </a:t>
            </a:r>
            <a:r>
              <a:rPr lang="en-US" sz="1050" dirty="0" err="1"/>
              <a:t>cenários</a:t>
            </a:r>
            <a:r>
              <a:rPr lang="en-US" sz="1050" dirty="0"/>
              <a:t> de </a:t>
            </a:r>
            <a:r>
              <a:rPr lang="en-US" sz="1050" dirty="0" err="1"/>
              <a:t>fraude</a:t>
            </a:r>
            <a:r>
              <a:rPr lang="en-US" sz="1050" dirty="0"/>
              <a:t> </a:t>
            </a:r>
            <a:r>
              <a:rPr lang="en-US" sz="1050" dirty="0" err="1"/>
              <a:t>em</a:t>
            </a:r>
            <a:r>
              <a:rPr lang="en-US" sz="1050" dirty="0"/>
              <a:t> </a:t>
            </a:r>
            <a:r>
              <a:rPr lang="en-US" sz="1050" dirty="0" smtClean="0"/>
              <a:t>multi-</a:t>
            </a:r>
            <a:r>
              <a:rPr lang="en-US" sz="1050" dirty="0" err="1" smtClean="0"/>
              <a:t>produtos</a:t>
            </a:r>
            <a:r>
              <a:rPr lang="en-US" sz="1050" dirty="0" smtClean="0"/>
              <a:t>, </a:t>
            </a:r>
            <a:r>
              <a:rPr lang="en-US" sz="1050" dirty="0" err="1"/>
              <a:t>impedindo</a:t>
            </a:r>
            <a:r>
              <a:rPr lang="en-US" sz="1050" dirty="0"/>
              <a:t> a </a:t>
            </a:r>
            <a:r>
              <a:rPr lang="en-US" sz="1050" dirty="0" err="1"/>
              <a:t>identificação</a:t>
            </a:r>
            <a:r>
              <a:rPr lang="en-US" sz="1050" dirty="0"/>
              <a:t> de </a:t>
            </a:r>
            <a:r>
              <a:rPr lang="en-US" sz="1050" dirty="0" err="1"/>
              <a:t>associações</a:t>
            </a:r>
            <a:r>
              <a:rPr lang="en-US" sz="1050" dirty="0"/>
              <a:t> </a:t>
            </a:r>
            <a:r>
              <a:rPr lang="en-US" sz="1050" dirty="0" err="1"/>
              <a:t>suspeitas</a:t>
            </a:r>
            <a:r>
              <a:rPr lang="en-US" sz="1050" dirty="0"/>
              <a:t> entre </a:t>
            </a:r>
            <a:r>
              <a:rPr lang="en-US" sz="1050" dirty="0" err="1"/>
              <a:t>clientes</a:t>
            </a:r>
            <a:r>
              <a:rPr lang="en-US" sz="1050" dirty="0"/>
              <a:t> e </a:t>
            </a:r>
            <a:r>
              <a:rPr lang="en-US" sz="1050" dirty="0" err="1"/>
              <a:t>contas</a:t>
            </a:r>
            <a:r>
              <a:rPr lang="en-US" sz="1050" dirty="0"/>
              <a:t> para </a:t>
            </a:r>
            <a:r>
              <a:rPr lang="en-US" sz="1050" dirty="0" err="1"/>
              <a:t>todas</a:t>
            </a:r>
            <a:r>
              <a:rPr lang="en-US" sz="1050" dirty="0"/>
              <a:t> as </a:t>
            </a:r>
            <a:r>
              <a:rPr lang="en-US" sz="1050" dirty="0" err="1"/>
              <a:t>linhas</a:t>
            </a:r>
            <a:r>
              <a:rPr lang="en-US" sz="1050" dirty="0"/>
              <a:t> de </a:t>
            </a:r>
            <a:r>
              <a:rPr lang="en-US" sz="1050" dirty="0" err="1"/>
              <a:t>negócio</a:t>
            </a:r>
            <a:r>
              <a:rPr lang="en-US" sz="1050" dirty="0"/>
              <a:t> da </a:t>
            </a:r>
            <a:r>
              <a:rPr lang="en-US" sz="1050" dirty="0" smtClean="0"/>
              <a:t>Oi</a:t>
            </a:r>
            <a:endParaRPr lang="en-US" sz="1050" dirty="0"/>
          </a:p>
          <a:p>
            <a:pPr algn="just">
              <a:defRPr/>
            </a:pPr>
            <a:r>
              <a:rPr lang="en-US" sz="1050" dirty="0" err="1"/>
              <a:t>Solução</a:t>
            </a:r>
            <a:r>
              <a:rPr lang="en-US" sz="1050" dirty="0"/>
              <a:t> </a:t>
            </a:r>
            <a:r>
              <a:rPr lang="en-US" sz="1050" dirty="0" err="1"/>
              <a:t>atual</a:t>
            </a:r>
            <a:r>
              <a:rPr lang="en-US" sz="1050" dirty="0"/>
              <a:t> </a:t>
            </a:r>
            <a:r>
              <a:rPr lang="en-US" sz="1050" dirty="0" err="1"/>
              <a:t>não</a:t>
            </a:r>
            <a:r>
              <a:rPr lang="en-US" sz="1050" dirty="0"/>
              <a:t> </a:t>
            </a:r>
            <a:r>
              <a:rPr lang="en-US" sz="1050" dirty="0" err="1"/>
              <a:t>está</a:t>
            </a:r>
            <a:r>
              <a:rPr lang="en-US" sz="1050" dirty="0"/>
              <a:t> </a:t>
            </a:r>
            <a:r>
              <a:rPr lang="en-US" sz="1050" dirty="0" err="1"/>
              <a:t>preparada</a:t>
            </a:r>
            <a:r>
              <a:rPr lang="en-US" sz="1050" dirty="0"/>
              <a:t> para </a:t>
            </a:r>
            <a:r>
              <a:rPr lang="en-US" sz="1050" dirty="0" err="1"/>
              <a:t>novos</a:t>
            </a:r>
            <a:r>
              <a:rPr lang="en-US" sz="1050" dirty="0"/>
              <a:t> </a:t>
            </a:r>
            <a:r>
              <a:rPr lang="en-US" sz="1050" dirty="0" err="1"/>
              <a:t>tipos</a:t>
            </a:r>
            <a:r>
              <a:rPr lang="en-US" sz="1050" dirty="0"/>
              <a:t> de </a:t>
            </a:r>
            <a:r>
              <a:rPr lang="en-US" sz="1050" dirty="0" err="1"/>
              <a:t>fraude</a:t>
            </a:r>
            <a:r>
              <a:rPr lang="en-US" sz="1050" dirty="0"/>
              <a:t> a </a:t>
            </a:r>
            <a:r>
              <a:rPr lang="en-US" sz="1050" dirty="0" err="1"/>
              <a:t>serem</a:t>
            </a:r>
            <a:r>
              <a:rPr lang="en-US" sz="1050" dirty="0"/>
              <a:t> </a:t>
            </a:r>
            <a:r>
              <a:rPr lang="en-US" sz="1050" dirty="0" err="1"/>
              <a:t>detectados</a:t>
            </a:r>
            <a:r>
              <a:rPr lang="en-US" sz="1050" dirty="0"/>
              <a:t> com a </a:t>
            </a:r>
            <a:r>
              <a:rPr lang="en-US" sz="1050" dirty="0" err="1"/>
              <a:t>Transformação</a:t>
            </a:r>
            <a:r>
              <a:rPr lang="en-US" sz="1050" dirty="0"/>
              <a:t> </a:t>
            </a:r>
            <a:r>
              <a:rPr lang="en-US" sz="1050" dirty="0" smtClean="0"/>
              <a:t>Digital</a:t>
            </a:r>
            <a:endParaRPr lang="en-US" sz="1050" dirty="0"/>
          </a:p>
          <a:p>
            <a:pPr algn="just">
              <a:defRPr/>
            </a:pPr>
            <a:r>
              <a:rPr lang="en-US" sz="1050" dirty="0" err="1"/>
              <a:t>Solução</a:t>
            </a:r>
            <a:r>
              <a:rPr lang="en-US" sz="1050" dirty="0"/>
              <a:t> </a:t>
            </a:r>
            <a:r>
              <a:rPr lang="en-US" sz="1050" dirty="0" err="1"/>
              <a:t>atual</a:t>
            </a:r>
            <a:r>
              <a:rPr lang="en-US" sz="1050" dirty="0"/>
              <a:t> </a:t>
            </a:r>
            <a:r>
              <a:rPr lang="en-US" sz="1050" dirty="0" err="1"/>
              <a:t>não</a:t>
            </a:r>
            <a:r>
              <a:rPr lang="en-US" sz="1050" dirty="0"/>
              <a:t> </a:t>
            </a:r>
            <a:r>
              <a:rPr lang="en-US" sz="1050" dirty="0" err="1"/>
              <a:t>permite</a:t>
            </a:r>
            <a:r>
              <a:rPr lang="en-US" sz="1050" dirty="0"/>
              <a:t> </a:t>
            </a:r>
            <a:r>
              <a:rPr lang="en-US" sz="1050" dirty="0" err="1"/>
              <a:t>realizar</a:t>
            </a:r>
            <a:r>
              <a:rPr lang="en-US" sz="1050" dirty="0"/>
              <a:t> </a:t>
            </a:r>
            <a:r>
              <a:rPr lang="en-US" sz="1050" dirty="0" err="1"/>
              <a:t>análise</a:t>
            </a:r>
            <a:r>
              <a:rPr lang="en-US" sz="1050" dirty="0"/>
              <a:t> </a:t>
            </a:r>
            <a:r>
              <a:rPr lang="en-US" sz="1050" dirty="0" err="1"/>
              <a:t>preditiva</a:t>
            </a:r>
            <a:r>
              <a:rPr lang="en-US" sz="1050" dirty="0"/>
              <a:t> para </a:t>
            </a:r>
            <a:r>
              <a:rPr lang="en-US" sz="1050" dirty="0" err="1"/>
              <a:t>antecipar</a:t>
            </a:r>
            <a:r>
              <a:rPr lang="en-US" sz="1050" dirty="0"/>
              <a:t> a </a:t>
            </a:r>
            <a:r>
              <a:rPr lang="en-US" sz="1050" dirty="0" err="1"/>
              <a:t>identificação</a:t>
            </a:r>
            <a:r>
              <a:rPr lang="en-US" sz="1050" dirty="0"/>
              <a:t> de </a:t>
            </a:r>
            <a:r>
              <a:rPr lang="en-US" sz="1050" dirty="0" err="1"/>
              <a:t>novos</a:t>
            </a:r>
            <a:r>
              <a:rPr lang="en-US" sz="1050" dirty="0"/>
              <a:t> </a:t>
            </a:r>
            <a:r>
              <a:rPr lang="en-US" sz="1050" dirty="0" err="1"/>
              <a:t>cenários</a:t>
            </a:r>
            <a:r>
              <a:rPr lang="en-US" sz="1050" dirty="0"/>
              <a:t> de </a:t>
            </a:r>
            <a:r>
              <a:rPr lang="en-US" sz="1050" dirty="0" err="1" smtClean="0"/>
              <a:t>fraude</a:t>
            </a:r>
            <a:endParaRPr lang="en-US" sz="1050" dirty="0"/>
          </a:p>
          <a:p>
            <a:pPr algn="just">
              <a:defRPr/>
            </a:pPr>
            <a:r>
              <a:rPr lang="en-US" sz="1050" dirty="0" err="1"/>
              <a:t>Processos</a:t>
            </a:r>
            <a:r>
              <a:rPr lang="en-US" sz="1050" dirty="0"/>
              <a:t> </a:t>
            </a:r>
            <a:r>
              <a:rPr lang="en-US" sz="1050" dirty="0" err="1"/>
              <a:t>manuais</a:t>
            </a:r>
            <a:r>
              <a:rPr lang="en-US" sz="1050" dirty="0"/>
              <a:t> de </a:t>
            </a:r>
            <a:r>
              <a:rPr lang="en-US" sz="1050" dirty="0" err="1"/>
              <a:t>prevenção</a:t>
            </a:r>
            <a:r>
              <a:rPr lang="en-US" sz="1050" dirty="0"/>
              <a:t> a </a:t>
            </a:r>
            <a:r>
              <a:rPr lang="en-US" sz="1050" dirty="0" err="1"/>
              <a:t>fraude</a:t>
            </a:r>
            <a:r>
              <a:rPr lang="en-US" sz="1050" dirty="0"/>
              <a:t> </a:t>
            </a:r>
            <a:r>
              <a:rPr lang="en-US" sz="1050" dirty="0" err="1"/>
              <a:t>na</a:t>
            </a:r>
            <a:r>
              <a:rPr lang="en-US" sz="1050" dirty="0"/>
              <a:t> OI TV e </a:t>
            </a:r>
            <a:r>
              <a:rPr lang="en-US" sz="1050" dirty="0" err="1"/>
              <a:t>Fixo</a:t>
            </a:r>
            <a:r>
              <a:rPr lang="en-US" sz="1050" dirty="0"/>
              <a:t> R2 </a:t>
            </a:r>
            <a:r>
              <a:rPr lang="en-US" sz="1050" dirty="0" err="1"/>
              <a:t>geram</a:t>
            </a:r>
            <a:r>
              <a:rPr lang="en-US" sz="1050" dirty="0"/>
              <a:t> </a:t>
            </a:r>
            <a:r>
              <a:rPr lang="en-US" sz="1050" dirty="0" err="1"/>
              <a:t>custos</a:t>
            </a:r>
            <a:r>
              <a:rPr lang="en-US" sz="1050" dirty="0"/>
              <a:t> com BO e </a:t>
            </a:r>
            <a:r>
              <a:rPr lang="en-US" sz="1050" dirty="0" err="1"/>
              <a:t>perda</a:t>
            </a:r>
            <a:r>
              <a:rPr lang="en-US" sz="1050" dirty="0"/>
              <a:t> de </a:t>
            </a:r>
            <a:r>
              <a:rPr lang="en-US" sz="1050" dirty="0" err="1" smtClean="0"/>
              <a:t>receita</a:t>
            </a:r>
            <a:endParaRPr lang="en-US" sz="1050" dirty="0" smtClean="0"/>
          </a:p>
          <a:p>
            <a:pPr algn="just">
              <a:defRPr/>
            </a:pPr>
            <a:endParaRPr lang="en-US" sz="1050" dirty="0"/>
          </a:p>
          <a:p>
            <a:pPr marL="0" indent="0">
              <a:buNone/>
            </a:pPr>
            <a:r>
              <a:rPr lang="pt-BR" altLang="pt-BR" sz="1100" b="1" u="sng" dirty="0"/>
              <a:t>BENEFÍCIOS:</a:t>
            </a:r>
          </a:p>
          <a:p>
            <a:pPr algn="just">
              <a:buFont typeface="Wingdings" panose="05000000000000000000" pitchFamily="2" charset="2"/>
              <a:buChar char="§"/>
            </a:pPr>
            <a:r>
              <a:rPr lang="en-US" sz="1050" dirty="0" err="1" smtClean="0"/>
              <a:t>Redução</a:t>
            </a:r>
            <a:r>
              <a:rPr lang="en-US" sz="1050" dirty="0" smtClean="0"/>
              <a:t> </a:t>
            </a:r>
            <a:r>
              <a:rPr lang="en-US" sz="1050" dirty="0"/>
              <a:t>da taxa de JEC</a:t>
            </a:r>
          </a:p>
          <a:p>
            <a:pPr algn="just">
              <a:buFont typeface="Wingdings" panose="05000000000000000000" pitchFamily="2" charset="2"/>
              <a:buChar char="§"/>
            </a:pPr>
            <a:r>
              <a:rPr lang="en-US" sz="1050" dirty="0" err="1"/>
              <a:t>Redução</a:t>
            </a:r>
            <a:r>
              <a:rPr lang="en-US" sz="1050" dirty="0"/>
              <a:t> da taxa de </a:t>
            </a:r>
            <a:r>
              <a:rPr lang="en-US" sz="1050" dirty="0" err="1"/>
              <a:t>reclamação</a:t>
            </a:r>
            <a:r>
              <a:rPr lang="en-US" sz="1050" dirty="0"/>
              <a:t> </a:t>
            </a:r>
            <a:r>
              <a:rPr lang="en-US" sz="1050" dirty="0" err="1"/>
              <a:t>em</a:t>
            </a:r>
            <a:r>
              <a:rPr lang="en-US" sz="1050" dirty="0"/>
              <a:t> </a:t>
            </a:r>
            <a:r>
              <a:rPr lang="en-US" sz="1050" dirty="0" err="1"/>
              <a:t>redes</a:t>
            </a:r>
            <a:r>
              <a:rPr lang="en-US" sz="1050" dirty="0"/>
              <a:t> </a:t>
            </a:r>
            <a:r>
              <a:rPr lang="en-US" sz="1050" dirty="0" err="1"/>
              <a:t>sociais</a:t>
            </a:r>
            <a:endParaRPr lang="en-US" sz="1050" dirty="0"/>
          </a:p>
          <a:p>
            <a:pPr algn="just"/>
            <a:r>
              <a:rPr lang="en-US" sz="1050" dirty="0" err="1"/>
              <a:t>Redução</a:t>
            </a:r>
            <a:r>
              <a:rPr lang="en-US" sz="1050" dirty="0"/>
              <a:t> de </a:t>
            </a:r>
            <a:r>
              <a:rPr lang="en-US" sz="1050" dirty="0" err="1"/>
              <a:t>perda</a:t>
            </a:r>
            <a:r>
              <a:rPr lang="en-US" sz="1050" dirty="0"/>
              <a:t> de </a:t>
            </a:r>
            <a:r>
              <a:rPr lang="en-US" sz="1050" dirty="0" err="1"/>
              <a:t>custo</a:t>
            </a:r>
            <a:r>
              <a:rPr lang="en-US" sz="1050" dirty="0"/>
              <a:t> de </a:t>
            </a:r>
            <a:r>
              <a:rPr lang="en-US" sz="1050" dirty="0" err="1"/>
              <a:t>interconexão</a:t>
            </a:r>
            <a:endParaRPr lang="en-US" sz="1050" dirty="0"/>
          </a:p>
          <a:p>
            <a:pPr algn="just"/>
            <a:r>
              <a:rPr lang="en-US" sz="1050" dirty="0" err="1"/>
              <a:t>Redução</a:t>
            </a:r>
            <a:r>
              <a:rPr lang="en-US" sz="1050" dirty="0"/>
              <a:t> de </a:t>
            </a:r>
            <a:r>
              <a:rPr lang="en-US" sz="1050" dirty="0" err="1"/>
              <a:t>ativação</a:t>
            </a:r>
            <a:r>
              <a:rPr lang="en-US" sz="1050" dirty="0"/>
              <a:t> e </a:t>
            </a:r>
            <a:r>
              <a:rPr lang="en-US" sz="1050" dirty="0" err="1"/>
              <a:t>instalação</a:t>
            </a:r>
            <a:r>
              <a:rPr lang="en-US" sz="1050" dirty="0"/>
              <a:t> de </a:t>
            </a:r>
            <a:r>
              <a:rPr lang="en-US" sz="1050" dirty="0" err="1"/>
              <a:t>produtos</a:t>
            </a:r>
            <a:r>
              <a:rPr lang="en-US" sz="1050" dirty="0"/>
              <a:t> </a:t>
            </a:r>
            <a:r>
              <a:rPr lang="en-US" sz="1050" dirty="0" err="1"/>
              <a:t>indevidos</a:t>
            </a:r>
            <a:endParaRPr lang="en-US" sz="1050" dirty="0"/>
          </a:p>
          <a:p>
            <a:pPr algn="just"/>
            <a:r>
              <a:rPr lang="en-US" sz="1050" dirty="0" err="1"/>
              <a:t>Aprimoramento</a:t>
            </a:r>
            <a:r>
              <a:rPr lang="en-US" sz="1050" dirty="0"/>
              <a:t> da </a:t>
            </a:r>
            <a:r>
              <a:rPr lang="en-US" sz="1050" dirty="0" err="1"/>
              <a:t>experiência</a:t>
            </a:r>
            <a:r>
              <a:rPr lang="en-US" sz="1050" dirty="0"/>
              <a:t> do </a:t>
            </a:r>
            <a:r>
              <a:rPr lang="en-US" sz="1050" dirty="0" err="1"/>
              <a:t>cliente</a:t>
            </a:r>
            <a:endParaRPr lang="en-US" sz="1050" dirty="0"/>
          </a:p>
          <a:p>
            <a:pPr algn="just"/>
            <a:r>
              <a:rPr lang="en-US" sz="1050" dirty="0" err="1"/>
              <a:t>Redução</a:t>
            </a:r>
            <a:r>
              <a:rPr lang="en-US" sz="1050" dirty="0"/>
              <a:t> do churn</a:t>
            </a:r>
          </a:p>
          <a:p>
            <a:pPr algn="just"/>
            <a:r>
              <a:rPr lang="en-US" sz="1050" dirty="0" err="1"/>
              <a:t>Aumento</a:t>
            </a:r>
            <a:r>
              <a:rPr lang="en-US" sz="1050" dirty="0"/>
              <a:t> de </a:t>
            </a:r>
            <a:r>
              <a:rPr lang="en-US" sz="1050" dirty="0" err="1"/>
              <a:t>vendas</a:t>
            </a:r>
            <a:r>
              <a:rPr lang="en-US" sz="1050" dirty="0"/>
              <a:t> com a </a:t>
            </a:r>
            <a:r>
              <a:rPr lang="en-US" sz="1050" dirty="0" err="1"/>
              <a:t>maior</a:t>
            </a:r>
            <a:r>
              <a:rPr lang="en-US" sz="1050" dirty="0"/>
              <a:t> </a:t>
            </a:r>
            <a:r>
              <a:rPr lang="en-US" sz="1050" dirty="0" err="1"/>
              <a:t>assertividade</a:t>
            </a:r>
            <a:r>
              <a:rPr lang="en-US" sz="1050" dirty="0"/>
              <a:t> das </a:t>
            </a:r>
            <a:r>
              <a:rPr lang="en-US" sz="1050" dirty="0" err="1"/>
              <a:t>derivações</a:t>
            </a:r>
            <a:r>
              <a:rPr lang="en-US" sz="1050" dirty="0"/>
              <a:t> e </a:t>
            </a:r>
            <a:r>
              <a:rPr lang="en-US" sz="1050" dirty="0" err="1"/>
              <a:t>maior</a:t>
            </a:r>
            <a:r>
              <a:rPr lang="en-US" sz="1050" dirty="0"/>
              <a:t> </a:t>
            </a:r>
            <a:r>
              <a:rPr lang="en-US" sz="1050" dirty="0" err="1"/>
              <a:t>número</a:t>
            </a:r>
            <a:r>
              <a:rPr lang="en-US" sz="1050" dirty="0"/>
              <a:t> de </a:t>
            </a:r>
            <a:r>
              <a:rPr lang="en-US" sz="1050" dirty="0" err="1"/>
              <a:t>tentativas</a:t>
            </a:r>
            <a:r>
              <a:rPr lang="en-US" sz="1050" dirty="0"/>
              <a:t> de </a:t>
            </a:r>
            <a:r>
              <a:rPr lang="en-US" sz="1050" dirty="0" err="1"/>
              <a:t>contato</a:t>
            </a:r>
            <a:r>
              <a:rPr lang="en-US" sz="1050" dirty="0"/>
              <a:t>.</a:t>
            </a:r>
          </a:p>
          <a:p>
            <a:pPr algn="just">
              <a:defRPr/>
            </a:pPr>
            <a:endParaRPr lang="en-US" sz="1050" dirty="0"/>
          </a:p>
          <a:p>
            <a:endParaRPr lang="en-US" dirty="0"/>
          </a:p>
          <a:p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4</a:t>
            </a:fld>
            <a:endParaRPr lang="pt-BR" dirty="0">
              <a:solidFill>
                <a:srgbClr val="5F5F5F"/>
              </a:solidFill>
            </a:endParaRPr>
          </a:p>
        </p:txBody>
      </p:sp>
      <p:graphicFrame>
        <p:nvGraphicFramePr>
          <p:cNvPr id="8" name="Diagrama 7"/>
          <p:cNvGraphicFramePr/>
          <p:nvPr>
            <p:extLst>
              <p:ext uri="{D42A27DB-BD31-4B8C-83A1-F6EECF244321}">
                <p14:modId xmlns:p14="http://schemas.microsoft.com/office/powerpoint/2010/main" val="763111473"/>
              </p:ext>
            </p:extLst>
          </p:nvPr>
        </p:nvGraphicFramePr>
        <p:xfrm>
          <a:off x="6588224" y="1563638"/>
          <a:ext cx="2880320" cy="22321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84403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Diagrama 12"/>
          <p:cNvGraphicFramePr/>
          <p:nvPr>
            <p:extLst>
              <p:ext uri="{D42A27DB-BD31-4B8C-83A1-F6EECF244321}">
                <p14:modId xmlns:p14="http://schemas.microsoft.com/office/powerpoint/2010/main" val="316108219"/>
              </p:ext>
            </p:extLst>
          </p:nvPr>
        </p:nvGraphicFramePr>
        <p:xfrm>
          <a:off x="164831" y="-164554"/>
          <a:ext cx="8800829" cy="49563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06544" y="4279420"/>
            <a:ext cx="837456" cy="144000"/>
          </a:xfrm>
        </p:spPr>
        <p:txBody>
          <a:bodyPr/>
          <a:lstStyle/>
          <a:p>
            <a:fld id="{34F21757-CAEC-9B46-BA5E-8BB41E742229}" type="slidenum">
              <a:rPr lang="en-US" smtClean="0">
                <a:solidFill>
                  <a:srgbClr val="4D4D4D"/>
                </a:solidFill>
              </a:rPr>
              <a:pPr/>
              <a:t>5</a:t>
            </a:fld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7801" y="51470"/>
            <a:ext cx="7994600" cy="432000"/>
          </a:xfrm>
        </p:spPr>
        <p:txBody>
          <a:bodyPr/>
          <a:lstStyle/>
          <a:p>
            <a:r>
              <a:rPr lang="pt-BR" sz="3200" i="0" dirty="0" err="1" smtClean="0">
                <a:solidFill>
                  <a:srgbClr val="00D318"/>
                </a:solidFill>
                <a:latin typeface="Simplon Oi Headline"/>
                <a:ea typeface="ＭＳ Ｐゴシック" charset="0"/>
              </a:rPr>
              <a:t>Roadmap</a:t>
            </a:r>
            <a:r>
              <a:rPr lang="pt-BR" sz="3200" i="0" dirty="0" smtClean="0">
                <a:solidFill>
                  <a:srgbClr val="00D318"/>
                </a:solidFill>
                <a:latin typeface="Simplon Oi Headline"/>
                <a:ea typeface="ＭＳ Ｐゴシック" charset="0"/>
              </a:rPr>
              <a:t> de Implantação</a:t>
            </a:r>
            <a:endParaRPr lang="en-US" i="0" dirty="0"/>
          </a:p>
        </p:txBody>
      </p:sp>
      <p:sp>
        <p:nvSpPr>
          <p:cNvPr id="22" name="Slide Number Placeholder 1"/>
          <p:cNvSpPr txBox="1">
            <a:spLocks/>
          </p:cNvSpPr>
          <p:nvPr/>
        </p:nvSpPr>
        <p:spPr>
          <a:xfrm>
            <a:off x="9449544" y="4999500"/>
            <a:ext cx="837456" cy="144000"/>
          </a:xfrm>
          <a:prstGeom prst="rect">
            <a:avLst/>
          </a:prstGeom>
        </p:spPr>
        <p:txBody>
          <a:bodyPr lIns="0" tIns="0" rIns="71959" bIns="0" anchor="ctr" anchorCtr="0"/>
          <a:lstStyle>
            <a:defPPr>
              <a:defRPr lang="en-US"/>
            </a:defPPr>
            <a:lvl1pPr marL="0" algn="r" defTabSz="456940" rtl="0" eaLnBrk="1" latinLnBrk="0" hangingPunct="1">
              <a:lnSpc>
                <a:spcPct val="80000"/>
              </a:lnSpc>
              <a:defRPr sz="800" kern="1200">
                <a:solidFill>
                  <a:schemeClr val="accent2"/>
                </a:solidFill>
                <a:latin typeface="Simplon Oi Headline" pitchFamily="50" charset="0"/>
                <a:ea typeface="+mn-ea"/>
                <a:cs typeface="Arial"/>
              </a:defRPr>
            </a:lvl1pPr>
            <a:lvl2pPr marL="456940" algn="l" defTabSz="4569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80" algn="l" defTabSz="4569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820" algn="l" defTabSz="4569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60" algn="l" defTabSz="4569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700" algn="l" defTabSz="4569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640" algn="l" defTabSz="4569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580" algn="l" defTabSz="4569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520" algn="l" defTabSz="4569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4F21757-CAEC-9B46-BA5E-8BB41E742229}" type="slidenum">
              <a:rPr lang="en-US">
                <a:solidFill>
                  <a:srgbClr val="4D4D4D"/>
                </a:solidFill>
              </a:rPr>
              <a:pPr/>
              <a:t>5</a:t>
            </a:fld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8" name="Retângulo de cantos arredondados 7"/>
          <p:cNvSpPr/>
          <p:nvPr/>
        </p:nvSpPr>
        <p:spPr>
          <a:xfrm>
            <a:off x="107004" y="915566"/>
            <a:ext cx="8968902" cy="3363854"/>
          </a:xfrm>
          <a:prstGeom prst="roundRect">
            <a:avLst>
              <a:gd name="adj" fmla="val 3220"/>
            </a:avLst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800"/>
              </a:lnSpc>
              <a:spcBef>
                <a:spcPts val="800"/>
              </a:spcBef>
            </a:pPr>
            <a:endParaRPr lang="pt-BR" sz="1200" dirty="0">
              <a:solidFill>
                <a:prstClr val="white"/>
              </a:solidFill>
              <a:latin typeface="Simplon BP Regular" pitchFamily="2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786340" y="1042142"/>
            <a:ext cx="761324" cy="2238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200" b="1" dirty="0" smtClean="0">
                <a:solidFill>
                  <a:prstClr val="black"/>
                </a:solidFill>
                <a:latin typeface="Simplon BP Regular" pitchFamily="2" charset="0"/>
              </a:rPr>
              <a:t>Entrega 1 </a:t>
            </a:r>
            <a:endParaRPr lang="pt-BR" sz="1200" b="1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2837644" y="1042142"/>
            <a:ext cx="1086283" cy="2334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200" b="1" dirty="0" smtClean="0">
                <a:solidFill>
                  <a:prstClr val="black"/>
                </a:solidFill>
                <a:latin typeface="Simplon BP Regular" pitchFamily="2" charset="0"/>
              </a:rPr>
              <a:t>Entrega 2</a:t>
            </a:r>
            <a:endParaRPr lang="pt-BR" sz="1200" b="1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4845942" y="1042142"/>
            <a:ext cx="1023867" cy="2334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200" b="1" dirty="0" smtClean="0">
                <a:solidFill>
                  <a:prstClr val="black"/>
                </a:solidFill>
                <a:latin typeface="Simplon BP Regular" pitchFamily="2" charset="0"/>
              </a:rPr>
              <a:t>Entrega 3</a:t>
            </a:r>
            <a:endParaRPr lang="pt-BR" sz="1200" b="1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6687524" y="1042142"/>
            <a:ext cx="980820" cy="2334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200" b="1" dirty="0" smtClean="0">
                <a:solidFill>
                  <a:prstClr val="black"/>
                </a:solidFill>
                <a:latin typeface="Simplon BP Regular" pitchFamily="2" charset="0"/>
              </a:rPr>
              <a:t>Entrega 4</a:t>
            </a:r>
            <a:endParaRPr lang="pt-BR" sz="1200" b="1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5" name="Elipse 4"/>
          <p:cNvSpPr/>
          <p:nvPr/>
        </p:nvSpPr>
        <p:spPr>
          <a:xfrm flipV="1">
            <a:off x="165370" y="4696360"/>
            <a:ext cx="152939" cy="15293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4605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prstClr val="white"/>
              </a:solidFill>
            </a:endParaRPr>
          </a:p>
        </p:txBody>
      </p:sp>
      <p:sp>
        <p:nvSpPr>
          <p:cNvPr id="25" name="Elipse 24"/>
          <p:cNvSpPr/>
          <p:nvPr/>
        </p:nvSpPr>
        <p:spPr>
          <a:xfrm flipV="1">
            <a:off x="164831" y="4887646"/>
            <a:ext cx="152939" cy="152939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4605">
              <a:lnSpc>
                <a:spcPts val="1800"/>
              </a:lnSpc>
              <a:spcBef>
                <a:spcPts val="800"/>
              </a:spcBef>
            </a:pPr>
            <a:endParaRPr lang="pt-BR" sz="1600" i="1" dirty="0">
              <a:solidFill>
                <a:prstClr val="black"/>
              </a:solidFill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328037" y="464411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4605">
              <a:lnSpc>
                <a:spcPts val="1800"/>
              </a:lnSpc>
              <a:spcBef>
                <a:spcPts val="800"/>
              </a:spcBef>
            </a:pPr>
            <a:r>
              <a:rPr lang="pt-BR" sz="900" i="1" dirty="0" smtClean="0">
                <a:solidFill>
                  <a:prstClr val="black"/>
                </a:solidFill>
              </a:rPr>
              <a:t>Cronograma Oficial TI</a:t>
            </a:r>
          </a:p>
        </p:txBody>
      </p:sp>
      <p:sp>
        <p:nvSpPr>
          <p:cNvPr id="26" name="CaixaDeTexto 25"/>
          <p:cNvSpPr txBox="1"/>
          <p:nvPr/>
        </p:nvSpPr>
        <p:spPr>
          <a:xfrm>
            <a:off x="334530" y="482570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4605">
              <a:lnSpc>
                <a:spcPts val="1800"/>
              </a:lnSpc>
              <a:spcBef>
                <a:spcPts val="800"/>
              </a:spcBef>
            </a:pPr>
            <a:r>
              <a:rPr lang="pt-BR" sz="900" i="1" dirty="0" smtClean="0">
                <a:solidFill>
                  <a:prstClr val="black"/>
                </a:solidFill>
              </a:rPr>
              <a:t>Expectativa Não Oficial TI</a:t>
            </a:r>
          </a:p>
        </p:txBody>
      </p:sp>
      <p:sp>
        <p:nvSpPr>
          <p:cNvPr id="20" name="CaixaDeTexto 19"/>
          <p:cNvSpPr txBox="1"/>
          <p:nvPr/>
        </p:nvSpPr>
        <p:spPr>
          <a:xfrm>
            <a:off x="2987824" y="1529784"/>
            <a:ext cx="360040" cy="2334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200" b="1" dirty="0" smtClean="0">
                <a:solidFill>
                  <a:prstClr val="black"/>
                </a:solidFill>
                <a:latin typeface="Simplon BP Regular" pitchFamily="2" charset="0"/>
              </a:rPr>
              <a:t>2T18</a:t>
            </a:r>
            <a:endParaRPr lang="pt-BR" sz="1200" b="1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5004047" y="1529784"/>
            <a:ext cx="865762" cy="2334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200" b="1" dirty="0" smtClean="0">
                <a:solidFill>
                  <a:prstClr val="black"/>
                </a:solidFill>
                <a:latin typeface="Simplon BP Regular" pitchFamily="2" charset="0"/>
              </a:rPr>
              <a:t>3T18</a:t>
            </a:r>
            <a:endParaRPr lang="pt-BR" sz="1200" b="1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6898667" y="1529784"/>
            <a:ext cx="865762" cy="2334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200" b="1" dirty="0">
                <a:solidFill>
                  <a:prstClr val="black"/>
                </a:solidFill>
                <a:latin typeface="Simplon BP Regular" pitchFamily="2" charset="0"/>
              </a:rPr>
              <a:t>4</a:t>
            </a:r>
            <a:r>
              <a:rPr lang="pt-BR" sz="1200" b="1" dirty="0" smtClean="0">
                <a:solidFill>
                  <a:prstClr val="black"/>
                </a:solidFill>
                <a:latin typeface="Simplon BP Regular" pitchFamily="2" charset="0"/>
              </a:rPr>
              <a:t>T18</a:t>
            </a:r>
            <a:endParaRPr lang="pt-BR" sz="1200" b="1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770958" y="1517728"/>
            <a:ext cx="632690" cy="2575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200" b="1" dirty="0" smtClean="0">
                <a:solidFill>
                  <a:prstClr val="black"/>
                </a:solidFill>
                <a:latin typeface="Simplon BP Regular" pitchFamily="2" charset="0"/>
              </a:rPr>
              <a:t>31/01/18</a:t>
            </a:r>
            <a:endParaRPr lang="pt-BR" sz="1200" b="1" dirty="0">
              <a:solidFill>
                <a:prstClr val="black"/>
              </a:solidFill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8352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6</a:t>
            </a:fld>
            <a:endParaRPr lang="pt-BR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51520" y="-20538"/>
            <a:ext cx="8207375" cy="712787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3200" dirty="0" smtClean="0"/>
              <a:t>Macro Entregas do Programa</a:t>
            </a:r>
            <a:endParaRPr lang="pt-BR" sz="3200" dirty="0"/>
          </a:p>
        </p:txBody>
      </p:sp>
      <p:graphicFrame>
        <p:nvGraphicFramePr>
          <p:cNvPr id="10" name="Diagrama 9"/>
          <p:cNvGraphicFramePr/>
          <p:nvPr>
            <p:extLst>
              <p:ext uri="{D42A27DB-BD31-4B8C-83A1-F6EECF244321}">
                <p14:modId xmlns:p14="http://schemas.microsoft.com/office/powerpoint/2010/main" val="835580317"/>
              </p:ext>
            </p:extLst>
          </p:nvPr>
        </p:nvGraphicFramePr>
        <p:xfrm>
          <a:off x="107504" y="415156"/>
          <a:ext cx="8640960" cy="44608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Retângulo 6"/>
          <p:cNvSpPr/>
          <p:nvPr/>
        </p:nvSpPr>
        <p:spPr>
          <a:xfrm>
            <a:off x="97720" y="4587974"/>
            <a:ext cx="173797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pt-BR" sz="1000" dirty="0" smtClean="0">
                <a:solidFill>
                  <a:srgbClr val="69D170"/>
                </a:solidFill>
                <a:latin typeface="Simplon BP Regular" pitchFamily="2" charset="0"/>
              </a:rPr>
              <a:t>*previsão RFP na onda 4/5/6</a:t>
            </a:r>
            <a:endParaRPr lang="pt-BR" sz="1000" dirty="0">
              <a:solidFill>
                <a:srgbClr val="69D170"/>
              </a:solidFill>
              <a:latin typeface="Simplon BP Regular" pitchFamily="2" charset="0"/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62708" y="4897279"/>
            <a:ext cx="162897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pt-BR" sz="1000" dirty="0" smtClean="0">
                <a:solidFill>
                  <a:schemeClr val="accent4">
                    <a:lumMod val="75000"/>
                  </a:schemeClr>
                </a:solidFill>
                <a:latin typeface="Simplon BP Regular" pitchFamily="2" charset="0"/>
              </a:rPr>
              <a:t>*previsão RFP na onda 8/9</a:t>
            </a:r>
            <a:endParaRPr lang="pt-BR" sz="1000" dirty="0">
              <a:solidFill>
                <a:schemeClr val="accent4">
                  <a:lumMod val="75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11" name="Retângulo 10"/>
          <p:cNvSpPr/>
          <p:nvPr/>
        </p:nvSpPr>
        <p:spPr>
          <a:xfrm>
            <a:off x="1979712" y="4587974"/>
            <a:ext cx="158408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pt-BR" sz="1000" dirty="0" smtClean="0">
                <a:solidFill>
                  <a:srgbClr val="FF954D"/>
                </a:solidFill>
                <a:latin typeface="Simplon BP Regular" pitchFamily="2" charset="0"/>
              </a:rPr>
              <a:t>*previsão RFP na onda 7.1</a:t>
            </a:r>
            <a:endParaRPr lang="pt-BR" sz="1000" dirty="0">
              <a:solidFill>
                <a:srgbClr val="FF954D"/>
              </a:solidFill>
              <a:latin typeface="Simplon BP Regular" pitchFamily="2" charset="0"/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1979712" y="4897279"/>
            <a:ext cx="76495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pt-BR" sz="1000" dirty="0" smtClean="0">
                <a:solidFill>
                  <a:srgbClr val="00B0F0"/>
                </a:solidFill>
                <a:latin typeface="Simplon BP Regular" pitchFamily="2" charset="0"/>
              </a:rPr>
              <a:t>*novo RQN</a:t>
            </a:r>
            <a:endParaRPr lang="pt-BR" sz="1000" dirty="0">
              <a:solidFill>
                <a:srgbClr val="00B0F0"/>
              </a:solidFill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8835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8313" y="51470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3200" dirty="0" smtClean="0"/>
              <a:t>Core Team</a:t>
            </a:r>
            <a:endParaRPr lang="pt-BR" sz="3200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7</a:t>
            </a:fld>
            <a:endParaRPr lang="pt-BR" dirty="0"/>
          </a:p>
        </p:txBody>
      </p:sp>
      <p:sp>
        <p:nvSpPr>
          <p:cNvPr id="8" name="Rectangle 36"/>
          <p:cNvSpPr/>
          <p:nvPr/>
        </p:nvSpPr>
        <p:spPr>
          <a:xfrm>
            <a:off x="4772432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dirty="0">
                <a:latin typeface="Simplon BP Regular"/>
                <a:cs typeface="Simplon BP Regular"/>
              </a:rPr>
              <a:t>INTEGRAÇÔES TI </a:t>
            </a:r>
            <a:endParaRPr lang="pt-BR" sz="1100" b="1" dirty="0" smtClean="0"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dirty="0">
                <a:latin typeface="Simplon BP Regular"/>
                <a:cs typeface="Simplon BP Regular"/>
              </a:rPr>
              <a:t>Eduardo D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9" name="Rectangle 13"/>
          <p:cNvSpPr>
            <a:spLocks noChangeArrowheads="1"/>
          </p:cNvSpPr>
          <p:nvPr/>
        </p:nvSpPr>
        <p:spPr bwMode="auto">
          <a:xfrm>
            <a:off x="723499" y="1001339"/>
            <a:ext cx="6691573" cy="360000"/>
          </a:xfrm>
          <a:prstGeom prst="rect">
            <a:avLst/>
          </a:prstGeom>
          <a:solidFill>
            <a:schemeClr val="accent1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mplon BP Regular"/>
                <a:cs typeface="Simplon BP Regular"/>
              </a:rPr>
              <a:t>SPONSOR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Gaspar Carreira / André </a:t>
            </a:r>
            <a:r>
              <a:rPr lang="pt-BR" sz="1100" kern="0" dirty="0" err="1">
                <a:solidFill>
                  <a:srgbClr val="FFFFFF"/>
                </a:solidFill>
                <a:latin typeface="Simplon BP Regular"/>
                <a:cs typeface="Simplon BP Regular"/>
              </a:rPr>
              <a:t>Ituassú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0" name="Rectangle 8"/>
          <p:cNvSpPr>
            <a:spLocks noChangeArrowheads="1"/>
          </p:cNvSpPr>
          <p:nvPr/>
        </p:nvSpPr>
        <p:spPr bwMode="auto">
          <a:xfrm>
            <a:off x="3418392" y="2283718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 smtClean="0">
                <a:latin typeface="Simplon BP Regular"/>
                <a:cs typeface="Simplon BP Regular"/>
              </a:rPr>
              <a:t>ARQ. SOLUÇÕES</a:t>
            </a:r>
            <a:endParaRPr lang="pt-BR" sz="1200" b="1" kern="0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err="1" smtClean="0">
                <a:latin typeface="Simplon BP Regular"/>
                <a:cs typeface="Simplon BP Regular"/>
              </a:rPr>
              <a:t>Marcelus</a:t>
            </a:r>
            <a:r>
              <a:rPr lang="pt-BR" sz="1100" kern="0" dirty="0" smtClean="0">
                <a:latin typeface="Simplon BP Regular"/>
                <a:cs typeface="Simplon BP Regular"/>
              </a:rPr>
              <a:t> Silva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4772432" y="1887484"/>
            <a:ext cx="2642641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COORDENAÇÃO </a:t>
            </a:r>
            <a:r>
              <a:rPr kumimoji="0" lang="pt-BR" sz="1200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T</a:t>
            </a:r>
            <a:r>
              <a:rPr kumimoji="0" lang="es-ES_tradnl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ÉCNICA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latin typeface="Simplon BP Regular"/>
                <a:cs typeface="Simplon BP Regular"/>
              </a:rPr>
              <a:t>Leandro </a:t>
            </a:r>
            <a:r>
              <a:rPr lang="pt-BR" sz="1100" kern="0" dirty="0" err="1" smtClean="0">
                <a:latin typeface="Simplon BP Regular"/>
                <a:cs typeface="Simplon BP Regular"/>
              </a:rPr>
              <a:t>Frossard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3418392" y="1887484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b="1" kern="0" dirty="0">
                <a:latin typeface="Simplon BP Regular"/>
                <a:cs typeface="Simplon BP Regular"/>
              </a:rPr>
              <a:t>PMO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latin typeface="Simplon BP Regular"/>
                <a:cs typeface="Simplon BP Regular"/>
              </a:rPr>
              <a:t>Adriana Almeida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3" name="Rectangle 30"/>
          <p:cNvSpPr/>
          <p:nvPr/>
        </p:nvSpPr>
        <p:spPr>
          <a:xfrm>
            <a:off x="6119073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Planej. 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Paulo Lyra/Fabian</a:t>
            </a:r>
          </a:p>
        </p:txBody>
      </p:sp>
      <p:sp>
        <p:nvSpPr>
          <p:cNvPr id="14" name="Rectangle 36"/>
          <p:cNvSpPr/>
          <p:nvPr/>
        </p:nvSpPr>
        <p:spPr>
          <a:xfrm>
            <a:off x="4772432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olução AF/Dados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dirty="0" err="1">
                <a:latin typeface="Simplon BP Regular"/>
                <a:cs typeface="Simplon BP Regular"/>
              </a:rPr>
              <a:t>Antonio</a:t>
            </a:r>
            <a:r>
              <a:rPr lang="pt-BR" sz="1100" dirty="0">
                <a:latin typeface="Simplon BP Regular"/>
                <a:cs typeface="Simplon BP Regular"/>
              </a:rPr>
              <a:t> </a:t>
            </a:r>
            <a:r>
              <a:rPr lang="pt-BR" sz="1100" dirty="0" smtClean="0">
                <a:latin typeface="Simplon BP Regular"/>
                <a:cs typeface="Simplon BP Regular"/>
              </a:rPr>
              <a:t>Carlos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auto">
          <a:xfrm>
            <a:off x="723055" y="1439581"/>
            <a:ext cx="6691572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 smtClean="0">
                <a:latin typeface="Simplon BP Regular"/>
                <a:cs typeface="Simplon BP Regular"/>
              </a:rPr>
              <a:t>GP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 smtClean="0">
                <a:latin typeface="Simplon BP Regular"/>
                <a:cs typeface="Simplon BP Regular"/>
              </a:rPr>
              <a:t>Leandro </a:t>
            </a:r>
            <a:r>
              <a:rPr lang="pt-BR" sz="1200" kern="0" dirty="0" err="1" smtClean="0">
                <a:latin typeface="Simplon BP Regular"/>
                <a:cs typeface="Simplon BP Regular"/>
              </a:rPr>
              <a:t>Frossard</a:t>
            </a:r>
            <a:endParaRPr lang="pt-BR" sz="1200" b="1" kern="0" dirty="0">
              <a:latin typeface="Simplon BP Regular"/>
              <a:cs typeface="Simplon BP Regular"/>
            </a:endParaRPr>
          </a:p>
        </p:txBody>
      </p:sp>
      <p:sp>
        <p:nvSpPr>
          <p:cNvPr id="17" name="CaixaDeTexto 219"/>
          <p:cNvSpPr txBox="1"/>
          <p:nvPr/>
        </p:nvSpPr>
        <p:spPr>
          <a:xfrm>
            <a:off x="582860" y="4906672"/>
            <a:ext cx="641997" cy="249748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algn="ctr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pPr algn="l"/>
            <a:r>
              <a:rPr lang="pt-BR" sz="800" dirty="0"/>
              <a:t>Não Alocado</a:t>
            </a:r>
          </a:p>
        </p:txBody>
      </p:sp>
      <p:sp>
        <p:nvSpPr>
          <p:cNvPr id="18" name="CaixaDeTexto 220"/>
          <p:cNvSpPr txBox="1"/>
          <p:nvPr/>
        </p:nvSpPr>
        <p:spPr>
          <a:xfrm>
            <a:off x="1371375" y="4928121"/>
            <a:ext cx="1109599" cy="206851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r>
              <a:rPr lang="pt-BR" dirty="0"/>
              <a:t>Alocação não atende</a:t>
            </a:r>
          </a:p>
        </p:txBody>
      </p:sp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723499" y="1887484"/>
            <a:ext cx="2642481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COORDENAÇÃO </a:t>
            </a:r>
            <a:r>
              <a:rPr kumimoji="0" lang="es-ES_tradnl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FUNCIONAL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err="1">
                <a:latin typeface="Simplon BP Regular"/>
                <a:cs typeface="Simplon BP Regular"/>
              </a:rPr>
              <a:t>Kleyton</a:t>
            </a:r>
            <a:r>
              <a:rPr lang="pt-BR" sz="1100" dirty="0">
                <a:latin typeface="Simplon BP Regular"/>
                <a:cs typeface="Simplon BP Regular"/>
              </a:rPr>
              <a:t> Soares</a:t>
            </a:r>
          </a:p>
        </p:txBody>
      </p:sp>
      <p:sp>
        <p:nvSpPr>
          <p:cNvPr id="21" name="Rectangle 30"/>
          <p:cNvSpPr/>
          <p:nvPr/>
        </p:nvSpPr>
        <p:spPr>
          <a:xfrm>
            <a:off x="2070141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Unidade de Vend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Debora Farias</a:t>
            </a:r>
          </a:p>
        </p:txBody>
      </p:sp>
      <p:sp>
        <p:nvSpPr>
          <p:cNvPr id="22" name="Rectangle 36"/>
          <p:cNvSpPr/>
          <p:nvPr/>
        </p:nvSpPr>
        <p:spPr>
          <a:xfrm>
            <a:off x="723500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PREVEN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Rodrigo Freitas</a:t>
            </a:r>
          </a:p>
        </p:txBody>
      </p:sp>
      <p:sp>
        <p:nvSpPr>
          <p:cNvPr id="23" name="Rectangle 8"/>
          <p:cNvSpPr>
            <a:spLocks noChangeArrowheads="1"/>
          </p:cNvSpPr>
          <p:nvPr/>
        </p:nvSpPr>
        <p:spPr bwMode="auto">
          <a:xfrm>
            <a:off x="7481190" y="1439581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P 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Placido</a:t>
            </a: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 Cavalcante</a:t>
            </a:r>
          </a:p>
        </p:txBody>
      </p:sp>
      <p:sp>
        <p:nvSpPr>
          <p:cNvPr id="24" name="Rectangle 8"/>
          <p:cNvSpPr>
            <a:spLocks noChangeArrowheads="1"/>
          </p:cNvSpPr>
          <p:nvPr/>
        </p:nvSpPr>
        <p:spPr bwMode="auto">
          <a:xfrm>
            <a:off x="7481190" y="1001339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SPONSOR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lexsandra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7481190" y="1887484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plon BP Regular"/>
                <a:cs typeface="Simplon BP Regular"/>
              </a:rPr>
              <a:t>COORDENAÇ</a:t>
            </a:r>
            <a:r>
              <a:rPr kumimoji="0" lang="es-ES_tradnl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plon BP Regular"/>
                <a:cs typeface="Simplon BP Regular"/>
              </a:rPr>
              <a:t>ÃO</a:t>
            </a:r>
            <a:endParaRPr kumimoji="0" lang="pt-BR" sz="11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Placido</a:t>
            </a: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 Cavalcante</a:t>
            </a:r>
          </a:p>
        </p:txBody>
      </p:sp>
      <p:sp>
        <p:nvSpPr>
          <p:cNvPr id="26" name="Rectangle 13"/>
          <p:cNvSpPr>
            <a:spLocks noChangeArrowheads="1"/>
          </p:cNvSpPr>
          <p:nvPr/>
        </p:nvSpPr>
        <p:spPr bwMode="auto">
          <a:xfrm flipH="1">
            <a:off x="7481189" y="705575"/>
            <a:ext cx="1197672" cy="295764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/>
              <a:defRPr/>
            </a:pPr>
            <a:r>
              <a:rPr lang="pt-BR" sz="1200" b="1" kern="0" dirty="0" smtClean="0">
                <a:latin typeface="Simplon BP Regular"/>
                <a:cs typeface="Simplon BP Regular"/>
              </a:rPr>
              <a:t>Integrador (</a:t>
            </a:r>
            <a:r>
              <a:rPr lang="pt-BR" sz="1200" b="1" kern="0" dirty="0" err="1" smtClean="0">
                <a:latin typeface="Simplon BP Regular"/>
                <a:cs typeface="Simplon BP Regular"/>
              </a:rPr>
              <a:t>WeDo</a:t>
            </a:r>
            <a:r>
              <a:rPr lang="pt-BR" sz="1200" b="1" kern="0" dirty="0" smtClean="0">
                <a:latin typeface="Simplon BP Regular"/>
                <a:cs typeface="Simplon BP Regular"/>
              </a:rPr>
              <a:t>)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27" name="Rectangle 8"/>
          <p:cNvSpPr>
            <a:spLocks noChangeArrowheads="1"/>
          </p:cNvSpPr>
          <p:nvPr/>
        </p:nvSpPr>
        <p:spPr bwMode="auto">
          <a:xfrm>
            <a:off x="723499" y="705575"/>
            <a:ext cx="6691573" cy="295764"/>
          </a:xfrm>
          <a:prstGeom prst="rect">
            <a:avLst/>
          </a:prstGeom>
          <a:noFill/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es-ES_tradnl" sz="1200" b="1" kern="0" dirty="0" smtClean="0">
                <a:latin typeface="Simplon BP Regular"/>
                <a:cs typeface="Simplon BP Regular"/>
              </a:rPr>
              <a:t>OI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28" name="Elipse 217"/>
          <p:cNvSpPr/>
          <p:nvPr/>
        </p:nvSpPr>
        <p:spPr>
          <a:xfrm>
            <a:off x="457200" y="4959546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Elipse 222"/>
          <p:cNvSpPr/>
          <p:nvPr/>
        </p:nvSpPr>
        <p:spPr>
          <a:xfrm>
            <a:off x="1250015" y="4959546"/>
            <a:ext cx="144000" cy="144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30"/>
          <p:cNvSpPr/>
          <p:nvPr/>
        </p:nvSpPr>
        <p:spPr>
          <a:xfrm>
            <a:off x="6119073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Projetos 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800" dirty="0" smtClean="0">
                <a:latin typeface="Simplon BP Regular"/>
                <a:cs typeface="Simplon BP Regular"/>
              </a:rPr>
              <a:t>Wagner Veloso/Paulo Barreto</a:t>
            </a:r>
            <a:endParaRPr lang="pt-BR" sz="800" dirty="0">
              <a:latin typeface="Simplon BP Regular"/>
              <a:cs typeface="Simplon BP Regular"/>
            </a:endParaRPr>
          </a:p>
        </p:txBody>
      </p:sp>
      <p:sp>
        <p:nvSpPr>
          <p:cNvPr id="31" name="Rectangle 36"/>
          <p:cNvSpPr/>
          <p:nvPr/>
        </p:nvSpPr>
        <p:spPr>
          <a:xfrm>
            <a:off x="4772432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CORE EXT. e TV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Leandro </a:t>
            </a:r>
            <a:r>
              <a:rPr lang="pt-BR" sz="1100" dirty="0" err="1">
                <a:latin typeface="Simplon BP Regular"/>
                <a:cs typeface="Simplon BP Regular"/>
              </a:rPr>
              <a:t>Frossard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32" name="Rectangle 30"/>
          <p:cNvSpPr/>
          <p:nvPr/>
        </p:nvSpPr>
        <p:spPr>
          <a:xfrm>
            <a:off x="2070141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Treinamento/BP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Cezar Fernandes</a:t>
            </a:r>
          </a:p>
        </p:txBody>
      </p:sp>
      <p:sp>
        <p:nvSpPr>
          <p:cNvPr id="33" name="Rectangle 36"/>
          <p:cNvSpPr/>
          <p:nvPr/>
        </p:nvSpPr>
        <p:spPr>
          <a:xfrm>
            <a:off x="723500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DETEC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err="1">
                <a:latin typeface="Simplon BP Regular"/>
                <a:cs typeface="Simplon BP Regular"/>
              </a:rPr>
              <a:t>Kleyton</a:t>
            </a:r>
            <a:r>
              <a:rPr lang="pt-BR" sz="1100" dirty="0">
                <a:latin typeface="Simplon BP Regular"/>
                <a:cs typeface="Simplon BP Regular"/>
              </a:rPr>
              <a:t> Soares</a:t>
            </a:r>
          </a:p>
        </p:txBody>
      </p:sp>
      <p:sp>
        <p:nvSpPr>
          <p:cNvPr id="34" name="Rectangle 30"/>
          <p:cNvSpPr/>
          <p:nvPr/>
        </p:nvSpPr>
        <p:spPr>
          <a:xfrm>
            <a:off x="6119073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. de Sistema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Christiano Maia</a:t>
            </a:r>
          </a:p>
        </p:txBody>
      </p:sp>
      <p:sp>
        <p:nvSpPr>
          <p:cNvPr id="35" name="Rectangle 30"/>
          <p:cNvSpPr/>
          <p:nvPr/>
        </p:nvSpPr>
        <p:spPr>
          <a:xfrm>
            <a:off x="2070141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Fraude Intern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Iran</a:t>
            </a:r>
          </a:p>
        </p:txBody>
      </p:sp>
      <p:sp>
        <p:nvSpPr>
          <p:cNvPr id="36" name="Rectangle 36"/>
          <p:cNvSpPr/>
          <p:nvPr/>
        </p:nvSpPr>
        <p:spPr>
          <a:xfrm>
            <a:off x="723500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VENDA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TBD</a:t>
            </a:r>
          </a:p>
        </p:txBody>
      </p:sp>
      <p:sp>
        <p:nvSpPr>
          <p:cNvPr id="37" name="Rectangle 30"/>
          <p:cNvSpPr/>
          <p:nvPr/>
        </p:nvSpPr>
        <p:spPr>
          <a:xfrm>
            <a:off x="6119073" y="3555805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urança ND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Flavio de Jesus</a:t>
            </a:r>
          </a:p>
        </p:txBody>
      </p:sp>
      <p:sp>
        <p:nvSpPr>
          <p:cNvPr id="38" name="Rectangle 36"/>
          <p:cNvSpPr/>
          <p:nvPr/>
        </p:nvSpPr>
        <p:spPr>
          <a:xfrm>
            <a:off x="4772432" y="3555805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 smtClean="0">
                <a:latin typeface="Simplon BP Regular"/>
                <a:cs typeface="Simplon BP Regular"/>
              </a:rPr>
              <a:t>Gestão de Testes</a:t>
            </a:r>
            <a:endParaRPr lang="pt-BR" sz="1100" b="1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kumimoji="0" lang="pt-B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rPr>
              <a:t>Luciana (Link)</a:t>
            </a:r>
            <a:endParaRPr kumimoji="0" lang="pt-BR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plon BP Regular"/>
              <a:ea typeface="MS Gothic" charset="-128"/>
              <a:cs typeface="Simplon BP Regular"/>
            </a:endParaRPr>
          </a:p>
        </p:txBody>
      </p:sp>
      <p:sp>
        <p:nvSpPr>
          <p:cNvPr id="40" name="Rectangle 36"/>
          <p:cNvSpPr/>
          <p:nvPr/>
        </p:nvSpPr>
        <p:spPr>
          <a:xfrm>
            <a:off x="723500" y="3555805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CRÉDIT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smtClean="0">
                <a:latin typeface="Simplon BP Regular"/>
                <a:cs typeface="Simplon BP Regular"/>
              </a:rPr>
              <a:t>Frederico </a:t>
            </a:r>
            <a:r>
              <a:rPr lang="pt-BR" sz="1100" dirty="0" err="1" smtClean="0">
                <a:latin typeface="Simplon BP Regular"/>
                <a:cs typeface="Simplon BP Regular"/>
              </a:rPr>
              <a:t>Basili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41" name="Rectangle 30"/>
          <p:cNvSpPr/>
          <p:nvPr/>
        </p:nvSpPr>
        <p:spPr>
          <a:xfrm>
            <a:off x="6119073" y="3974368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. de Intel.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Eduardo Fernandes</a:t>
            </a:r>
          </a:p>
        </p:txBody>
      </p:sp>
      <p:sp>
        <p:nvSpPr>
          <p:cNvPr id="42" name="Rectangle 36"/>
          <p:cNvSpPr/>
          <p:nvPr/>
        </p:nvSpPr>
        <p:spPr>
          <a:xfrm>
            <a:off x="4772432" y="3974368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Infra e Operaçõe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err="1">
                <a:latin typeface="Simplon BP Regular"/>
                <a:cs typeface="Simplon BP Regular"/>
              </a:rPr>
              <a:t>Judney</a:t>
            </a:r>
            <a:r>
              <a:rPr lang="pt-BR" sz="1100" dirty="0">
                <a:latin typeface="Simplon BP Regular"/>
                <a:cs typeface="Simplon BP Regular"/>
              </a:rPr>
              <a:t>/</a:t>
            </a:r>
            <a:r>
              <a:rPr lang="pt-BR" sz="1100" dirty="0" err="1">
                <a:latin typeface="Simplon BP Regular"/>
                <a:cs typeface="Simplon BP Regular"/>
              </a:rPr>
              <a:t>Antonio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44" name="Rectangle 36"/>
          <p:cNvSpPr/>
          <p:nvPr/>
        </p:nvSpPr>
        <p:spPr>
          <a:xfrm>
            <a:off x="723500" y="3974368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UTC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Ariane Carla</a:t>
            </a:r>
          </a:p>
        </p:txBody>
      </p:sp>
      <p:sp>
        <p:nvSpPr>
          <p:cNvPr id="45" name="Rectangle 8"/>
          <p:cNvSpPr>
            <a:spLocks noChangeArrowheads="1"/>
          </p:cNvSpPr>
          <p:nvPr/>
        </p:nvSpPr>
        <p:spPr bwMode="auto">
          <a:xfrm>
            <a:off x="7481190" y="2303024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rq. Funcional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Luiz </a:t>
            </a: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Bráz</a:t>
            </a: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 PT</a:t>
            </a:r>
          </a:p>
        </p:txBody>
      </p:sp>
      <p:sp>
        <p:nvSpPr>
          <p:cNvPr id="46" name="Rectangle 8"/>
          <p:cNvSpPr>
            <a:spLocks noChangeArrowheads="1"/>
          </p:cNvSpPr>
          <p:nvPr/>
        </p:nvSpPr>
        <p:spPr bwMode="auto">
          <a:xfrm>
            <a:off x="7481190" y="2718564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rq. </a:t>
            </a: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Técnic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ndré </a:t>
            </a: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Jacomino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Rectangle 8"/>
          <p:cNvSpPr>
            <a:spLocks noChangeArrowheads="1"/>
          </p:cNvSpPr>
          <p:nvPr/>
        </p:nvSpPr>
        <p:spPr bwMode="auto">
          <a:xfrm>
            <a:off x="7481190" y="3141817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Infra/DBA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Leonardo Martins</a:t>
            </a:r>
          </a:p>
        </p:txBody>
      </p:sp>
      <p:sp>
        <p:nvSpPr>
          <p:cNvPr id="51" name="Rectangle 36"/>
          <p:cNvSpPr/>
          <p:nvPr/>
        </p:nvSpPr>
        <p:spPr>
          <a:xfrm>
            <a:off x="6119073" y="437669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. de Acesso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Amaury </a:t>
            </a:r>
            <a:r>
              <a:rPr lang="pt-BR" sz="1100" dirty="0" err="1">
                <a:latin typeface="Simplon BP Regular"/>
                <a:cs typeface="Simplon BP Regular"/>
              </a:rPr>
              <a:t>Araujo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52" name="Rectangle 36"/>
          <p:cNvSpPr/>
          <p:nvPr/>
        </p:nvSpPr>
        <p:spPr>
          <a:xfrm>
            <a:off x="4756956" y="437669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DATA LAKE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Thiago Jordão</a:t>
            </a:r>
          </a:p>
        </p:txBody>
      </p:sp>
      <p:sp>
        <p:nvSpPr>
          <p:cNvPr id="53" name="Rectangle 8"/>
          <p:cNvSpPr>
            <a:spLocks noChangeArrowheads="1"/>
          </p:cNvSpPr>
          <p:nvPr/>
        </p:nvSpPr>
        <p:spPr bwMode="auto">
          <a:xfrm>
            <a:off x="3412823" y="2692167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 smtClean="0">
                <a:latin typeface="Simplon BP Regular"/>
                <a:cs typeface="Simplon BP Regular"/>
              </a:rPr>
              <a:t>Relacionamento</a:t>
            </a:r>
            <a:endParaRPr lang="pt-BR" sz="1200" b="1" kern="0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>
                <a:latin typeface="Simplon BP Regular"/>
                <a:cs typeface="Simplon BP Regular"/>
              </a:rPr>
              <a:t>Marcio Cesar</a:t>
            </a:r>
          </a:p>
        </p:txBody>
      </p:sp>
      <p:sp>
        <p:nvSpPr>
          <p:cNvPr id="54" name="Rectangle 8"/>
          <p:cNvSpPr>
            <a:spLocks noChangeArrowheads="1"/>
          </p:cNvSpPr>
          <p:nvPr/>
        </p:nvSpPr>
        <p:spPr bwMode="auto">
          <a:xfrm>
            <a:off x="3404808" y="3523247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>
                <a:latin typeface="Simplon BP Regular"/>
                <a:cs typeface="Simplon BP Regular"/>
              </a:rPr>
              <a:t>TML Releases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>
                <a:latin typeface="Simplon BP Regular"/>
                <a:cs typeface="Simplon BP Regular"/>
              </a:rPr>
              <a:t>Sabrina Mota</a:t>
            </a:r>
          </a:p>
        </p:txBody>
      </p:sp>
      <p:sp>
        <p:nvSpPr>
          <p:cNvPr id="55" name="Rectangle 8"/>
          <p:cNvSpPr>
            <a:spLocks noChangeArrowheads="1"/>
          </p:cNvSpPr>
          <p:nvPr/>
        </p:nvSpPr>
        <p:spPr bwMode="auto">
          <a:xfrm>
            <a:off x="3404808" y="3107707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>
                <a:latin typeface="Simplon BP Regular"/>
                <a:cs typeface="Simplon BP Regular"/>
              </a:rPr>
              <a:t>Transição </a:t>
            </a:r>
            <a:r>
              <a:rPr lang="pt-BR" sz="1200" b="1" kern="0" dirty="0" smtClean="0">
                <a:latin typeface="Simplon BP Regular"/>
                <a:cs typeface="Simplon BP Regular"/>
              </a:rPr>
              <a:t>Prod.</a:t>
            </a:r>
            <a:endParaRPr lang="pt-BR" sz="1200" b="1" kern="0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 smtClean="0">
                <a:latin typeface="Simplon BP Regular"/>
                <a:cs typeface="Simplon BP Regular"/>
              </a:rPr>
              <a:t>Camila Costa</a:t>
            </a:r>
            <a:endParaRPr lang="pt-BR" sz="1200" kern="0" dirty="0"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70202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8</a:t>
            </a:fld>
            <a:endParaRPr lang="pt-BR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8313" y="58763"/>
            <a:ext cx="8207375" cy="712787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3200" dirty="0" smtClean="0"/>
              <a:t>Visão Macro da Solução RAID-FMS</a:t>
            </a:r>
            <a:endParaRPr lang="pt-BR" sz="3200" dirty="0"/>
          </a:p>
        </p:txBody>
      </p:sp>
      <p:sp>
        <p:nvSpPr>
          <p:cNvPr id="13" name="Retângulo de cantos arredondados 12"/>
          <p:cNvSpPr/>
          <p:nvPr/>
        </p:nvSpPr>
        <p:spPr>
          <a:xfrm>
            <a:off x="467544" y="2384493"/>
            <a:ext cx="7859216" cy="1195369"/>
          </a:xfrm>
          <a:prstGeom prst="round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100" dirty="0">
                <a:solidFill>
                  <a:prstClr val="black"/>
                </a:solidFill>
                <a:latin typeface="Simplon BP Light" pitchFamily="2" charset="0"/>
              </a:rPr>
              <a:t>TRANSFORMAÇÃO</a:t>
            </a:r>
          </a:p>
        </p:txBody>
      </p:sp>
      <p:sp>
        <p:nvSpPr>
          <p:cNvPr id="14" name="Retângulo de cantos arredondados 13"/>
          <p:cNvSpPr/>
          <p:nvPr/>
        </p:nvSpPr>
        <p:spPr>
          <a:xfrm>
            <a:off x="467544" y="3651877"/>
            <a:ext cx="7859216" cy="1195369"/>
          </a:xfrm>
          <a:prstGeom prst="round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100" dirty="0">
                <a:solidFill>
                  <a:prstClr val="black"/>
                </a:solidFill>
                <a:latin typeface="Simplon BP Light" pitchFamily="2" charset="0"/>
              </a:rPr>
              <a:t>OUTPUT</a:t>
            </a:r>
          </a:p>
        </p:txBody>
      </p:sp>
      <p:sp>
        <p:nvSpPr>
          <p:cNvPr id="15" name="Retângulo de cantos arredondados 14"/>
          <p:cNvSpPr/>
          <p:nvPr/>
        </p:nvSpPr>
        <p:spPr>
          <a:xfrm>
            <a:off x="467545" y="600027"/>
            <a:ext cx="7859215" cy="1713348"/>
          </a:xfrm>
          <a:prstGeom prst="round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r>
              <a:rPr lang="pt-BR" sz="1100" dirty="0" smtClean="0">
                <a:solidFill>
                  <a:prstClr val="black"/>
                </a:solidFill>
                <a:latin typeface="Simplon BP Light" pitchFamily="2" charset="0"/>
              </a:rPr>
              <a:t>ENTRADAS</a:t>
            </a:r>
            <a:endParaRPr lang="pt-BR" sz="1100" dirty="0">
              <a:solidFill>
                <a:prstClr val="black"/>
              </a:solidFill>
              <a:latin typeface="Simplon BP Light" pitchFamily="2" charset="0"/>
            </a:endParaRPr>
          </a:p>
        </p:txBody>
      </p:sp>
      <p:sp>
        <p:nvSpPr>
          <p:cNvPr id="16" name="Retângulo de cantos arredondados 15"/>
          <p:cNvSpPr/>
          <p:nvPr/>
        </p:nvSpPr>
        <p:spPr>
          <a:xfrm>
            <a:off x="2056540" y="2461008"/>
            <a:ext cx="1216478" cy="979714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350"/>
              </a:lnSpc>
              <a:spcBef>
                <a:spcPts val="600"/>
              </a:spcBef>
            </a:pPr>
            <a:r>
              <a:rPr lang="pt-BR" sz="1200" dirty="0">
                <a:latin typeface="Simplon BP Light" pitchFamily="2" charset="0"/>
              </a:rPr>
              <a:t>MOTOR DE PREVENÇÃO NA VENDA</a:t>
            </a:r>
          </a:p>
        </p:txBody>
      </p:sp>
      <p:sp>
        <p:nvSpPr>
          <p:cNvPr id="17" name="Retângulo de cantos arredondados 16"/>
          <p:cNvSpPr/>
          <p:nvPr/>
        </p:nvSpPr>
        <p:spPr>
          <a:xfrm>
            <a:off x="3931254" y="2461008"/>
            <a:ext cx="1216478" cy="979714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350"/>
              </a:lnSpc>
              <a:spcBef>
                <a:spcPts val="600"/>
              </a:spcBef>
            </a:pPr>
            <a:r>
              <a:rPr lang="pt-BR" sz="1200" dirty="0">
                <a:latin typeface="Simplon BP Light" pitchFamily="2" charset="0"/>
              </a:rPr>
              <a:t>MOTOR  DETECÇÃO PÓS INSTALAÇÃO</a:t>
            </a:r>
          </a:p>
        </p:txBody>
      </p:sp>
      <p:sp>
        <p:nvSpPr>
          <p:cNvPr id="18" name="Retângulo de cantos arredondados 17"/>
          <p:cNvSpPr/>
          <p:nvPr/>
        </p:nvSpPr>
        <p:spPr>
          <a:xfrm>
            <a:off x="5805968" y="2461008"/>
            <a:ext cx="1216478" cy="979714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350"/>
              </a:lnSpc>
              <a:spcBef>
                <a:spcPts val="600"/>
              </a:spcBef>
            </a:pPr>
            <a:r>
              <a:rPr lang="pt-BR" sz="1200" dirty="0">
                <a:latin typeface="Simplon BP Light" pitchFamily="2" charset="0"/>
              </a:rPr>
              <a:t>MOTOR  DETECÇÃO FRAUDE TRÁFEGO</a:t>
            </a:r>
          </a:p>
        </p:txBody>
      </p:sp>
      <p:graphicFrame>
        <p:nvGraphicFramePr>
          <p:cNvPr id="19" name="Diagrama 18"/>
          <p:cNvGraphicFramePr/>
          <p:nvPr>
            <p:extLst>
              <p:ext uri="{D42A27DB-BD31-4B8C-83A1-F6EECF244321}">
                <p14:modId xmlns:p14="http://schemas.microsoft.com/office/powerpoint/2010/main" val="3325039245"/>
              </p:ext>
            </p:extLst>
          </p:nvPr>
        </p:nvGraphicFramePr>
        <p:xfrm>
          <a:off x="1362488" y="627732"/>
          <a:ext cx="6881920" cy="16230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0" name="Diagrama 19"/>
          <p:cNvGraphicFramePr/>
          <p:nvPr>
            <p:extLst>
              <p:ext uri="{D42A27DB-BD31-4B8C-83A1-F6EECF244321}">
                <p14:modId xmlns:p14="http://schemas.microsoft.com/office/powerpoint/2010/main" val="86371278"/>
              </p:ext>
            </p:extLst>
          </p:nvPr>
        </p:nvGraphicFramePr>
        <p:xfrm>
          <a:off x="1137014" y="3651870"/>
          <a:ext cx="6891370" cy="11319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184667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8313" y="51470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3200" dirty="0"/>
              <a:t>Premissas e </a:t>
            </a:r>
            <a:r>
              <a:rPr lang="pt-BR" sz="3200" dirty="0" smtClean="0"/>
              <a:t>Restrições</a:t>
            </a:r>
            <a:endParaRPr lang="pt-BR" sz="3200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4"/>
          </p:nvPr>
        </p:nvSpPr>
        <p:spPr>
          <a:xfrm>
            <a:off x="468312" y="843558"/>
            <a:ext cx="8207375" cy="2808312"/>
          </a:xfrm>
        </p:spPr>
        <p:txBody>
          <a:bodyPr/>
          <a:lstStyle/>
          <a:p>
            <a:pPr algn="just"/>
            <a:r>
              <a:rPr lang="pt-BR" sz="1200" dirty="0" smtClean="0"/>
              <a:t>Não está previsto </a:t>
            </a:r>
            <a:r>
              <a:rPr lang="pt-BR" sz="1200" dirty="0"/>
              <a:t>paralelismo entre as </a:t>
            </a:r>
            <a:r>
              <a:rPr lang="pt-BR" sz="1200" dirty="0" smtClean="0"/>
              <a:t>Ondas e Subprojetos, portanto o DSOL de uma Onda só pode ser iniciado após o término da UAT da Onda anterior.</a:t>
            </a:r>
            <a:endParaRPr lang="pt-BR" sz="1200" dirty="0"/>
          </a:p>
          <a:p>
            <a:pPr algn="just"/>
            <a:r>
              <a:rPr lang="pt-BR" sz="1200" dirty="0" smtClean="0"/>
              <a:t>Projeto </a:t>
            </a:r>
            <a:r>
              <a:rPr lang="pt-BR" sz="1200" dirty="0"/>
              <a:t>Novo Antifraude deverá ser </a:t>
            </a:r>
            <a:r>
              <a:rPr lang="pt-BR" sz="1200" dirty="0" err="1"/>
              <a:t>cross</a:t>
            </a:r>
            <a:r>
              <a:rPr lang="pt-BR" sz="1200" dirty="0"/>
              <a:t> com </a:t>
            </a:r>
            <a:r>
              <a:rPr lang="pt-BR" sz="1200" dirty="0" smtClean="0"/>
              <a:t>os </a:t>
            </a:r>
            <a:r>
              <a:rPr lang="pt-BR" sz="1200" dirty="0"/>
              <a:t>Projetos do Novo Front </a:t>
            </a:r>
            <a:r>
              <a:rPr lang="pt-BR" sz="1200" dirty="0" err="1"/>
              <a:t>End</a:t>
            </a:r>
            <a:r>
              <a:rPr lang="pt-BR" sz="1200" dirty="0"/>
              <a:t> de Vendas (PRJ00023734), Upgrade </a:t>
            </a:r>
            <a:r>
              <a:rPr lang="pt-BR" sz="1200" dirty="0" err="1"/>
              <a:t>Transact</a:t>
            </a:r>
            <a:r>
              <a:rPr lang="pt-BR" sz="1200" dirty="0"/>
              <a:t> </a:t>
            </a:r>
            <a:r>
              <a:rPr lang="pt-BR" sz="1200" dirty="0" smtClean="0"/>
              <a:t>(PRJ24668), </a:t>
            </a:r>
            <a:r>
              <a:rPr lang="pt-BR" sz="1200" dirty="0"/>
              <a:t>Upgrade </a:t>
            </a:r>
            <a:r>
              <a:rPr lang="pt-BR" sz="1200" dirty="0" smtClean="0"/>
              <a:t>ICS (PRJ22594), Multiprodutos – Nova Política de Crédito (PRJ9567</a:t>
            </a:r>
            <a:r>
              <a:rPr lang="pt-BR" sz="1200" dirty="0"/>
              <a:t>)</a:t>
            </a:r>
            <a:r>
              <a:rPr lang="pt-BR" sz="1200" dirty="0" smtClean="0"/>
              <a:t> e Unifica.</a:t>
            </a:r>
          </a:p>
          <a:p>
            <a:pPr algn="just"/>
            <a:r>
              <a:rPr lang="pt-BR" sz="1200" dirty="0"/>
              <a:t>A abertura dos </a:t>
            </a:r>
            <a:r>
              <a:rPr lang="pt-BR" sz="1200" dirty="0" smtClean="0"/>
              <a:t>Projetos/subprojetos </a:t>
            </a:r>
            <a:r>
              <a:rPr lang="pt-BR" sz="1200" dirty="0"/>
              <a:t>de cada uma das Ondas será feita com base nos </a:t>
            </a:r>
            <a:r>
              <a:rPr lang="pt-BR" sz="1200" dirty="0" err="1"/>
              <a:t>macro-requisitos</a:t>
            </a:r>
            <a:r>
              <a:rPr lang="pt-BR" sz="1200" dirty="0"/>
              <a:t> enviados pelo Cliente definidos em tempo de </a:t>
            </a:r>
            <a:r>
              <a:rPr lang="pt-BR" sz="1200" dirty="0" smtClean="0"/>
              <a:t>RFP, e está </a:t>
            </a:r>
            <a:r>
              <a:rPr lang="pt-BR" sz="1200" dirty="0"/>
              <a:t>condicionada ao envio do detalhamento das Regras de Negócio e Critérios de Aceitação pelo Cliente.</a:t>
            </a:r>
          </a:p>
          <a:p>
            <a:pPr algn="just"/>
            <a:r>
              <a:rPr lang="pt-BR" sz="1200" dirty="0" smtClean="0"/>
              <a:t>Requisitos e Regras identificados em tempo de DSOL/UAT da Onda em execução, que não constem no SD aprovado ou devidamente detalhados, serão </a:t>
            </a:r>
            <a:r>
              <a:rPr lang="pt-BR" sz="1200" dirty="0" err="1" smtClean="0"/>
              <a:t>repriorizados</a:t>
            </a:r>
            <a:r>
              <a:rPr lang="pt-BR" sz="1200" dirty="0" smtClean="0"/>
              <a:t> para Ondas futuras. Se forem classificados como impeditivos serão endereçados como CR de Escopo, implicando em revisão de planejamento de entregas e esforço por parte das fábricas envolvidas.</a:t>
            </a:r>
            <a:endParaRPr lang="pt-BR" sz="1200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9</a:t>
            </a:fld>
            <a:endParaRPr lang="pt-BR" dirty="0"/>
          </a:p>
        </p:txBody>
      </p:sp>
      <p:sp>
        <p:nvSpPr>
          <p:cNvPr id="6" name="Espaço Reservado para Texto 6"/>
          <p:cNvSpPr txBox="1">
            <a:spLocks/>
          </p:cNvSpPr>
          <p:nvPr/>
        </p:nvSpPr>
        <p:spPr>
          <a:xfrm>
            <a:off x="395536" y="483518"/>
            <a:ext cx="8207375" cy="360362"/>
          </a:xfrm>
          <a:prstGeom prst="rect">
            <a:avLst/>
          </a:prstGeom>
        </p:spPr>
        <p:txBody>
          <a:bodyPr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365125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541338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717550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893763" algn="l"/>
              </a:tabLst>
              <a:defRPr lang="pt-BR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b="1" dirty="0" smtClean="0"/>
              <a:t>PREMISSAS – Sistemas</a:t>
            </a:r>
          </a:p>
          <a:p>
            <a:pPr marL="0" indent="0">
              <a:buNone/>
            </a:pPr>
            <a:endParaRPr lang="pt-BR" b="1" dirty="0"/>
          </a:p>
          <a:p>
            <a:pPr marL="0" indent="0">
              <a:buNone/>
            </a:pPr>
            <a:endParaRPr lang="pt-BR" b="1" dirty="0" smtClean="0"/>
          </a:p>
          <a:p>
            <a:pPr marL="0" indent="0">
              <a:buNone/>
            </a:pPr>
            <a:endParaRPr lang="pt-BR" b="1" dirty="0"/>
          </a:p>
        </p:txBody>
      </p:sp>
      <p:sp>
        <p:nvSpPr>
          <p:cNvPr id="10" name="Espaço Reservado para Texto 6"/>
          <p:cNvSpPr txBox="1">
            <a:spLocks/>
          </p:cNvSpPr>
          <p:nvPr/>
        </p:nvSpPr>
        <p:spPr>
          <a:xfrm>
            <a:off x="395536" y="3147814"/>
            <a:ext cx="8207375" cy="360362"/>
          </a:xfrm>
          <a:prstGeom prst="rect">
            <a:avLst/>
          </a:prstGeom>
        </p:spPr>
        <p:txBody>
          <a:bodyPr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365125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541338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717550" algn="l"/>
              </a:tabLst>
              <a:defRPr lang="es-ES_tradnl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>
                <a:tab pos="893763" algn="l"/>
              </a:tabLst>
              <a:defRPr lang="pt-BR" sz="1400" kern="1200" smtClean="0">
                <a:solidFill>
                  <a:srgbClr val="000000"/>
                </a:solidFill>
                <a:latin typeface="Simplon BP Regular"/>
                <a:ea typeface="ＭＳ Ｐゴシック" charset="0"/>
                <a:cs typeface="Simplon BP Regular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b="1" dirty="0" smtClean="0"/>
              <a:t>PREMISSAS – Gerência Prevenção a Fraudes</a:t>
            </a:r>
          </a:p>
          <a:p>
            <a:pPr algn="just"/>
            <a:r>
              <a:rPr lang="pt-BR" sz="1200" dirty="0" smtClean="0"/>
              <a:t>Para o sucesso do projeto e maior </a:t>
            </a:r>
            <a:r>
              <a:rPr lang="pt-BR" sz="1200" dirty="0"/>
              <a:t>eficiência da </a:t>
            </a:r>
            <a:r>
              <a:rPr lang="pt-BR" sz="1200" dirty="0" smtClean="0"/>
              <a:t>ferramenta, </a:t>
            </a:r>
            <a:r>
              <a:rPr lang="pt-BR" sz="1200" dirty="0"/>
              <a:t>é essencial revisão do processo de Vendas, Crédito, </a:t>
            </a:r>
            <a:r>
              <a:rPr lang="pt-BR" sz="1200" dirty="0" err="1"/>
              <a:t>SLA´s</a:t>
            </a:r>
            <a:r>
              <a:rPr lang="pt-BR" sz="1200" dirty="0"/>
              <a:t> de Tempo de Resposta ao </a:t>
            </a:r>
            <a:r>
              <a:rPr lang="pt-BR" sz="1200" dirty="0" err="1"/>
              <a:t>Transact</a:t>
            </a:r>
            <a:r>
              <a:rPr lang="pt-BR" sz="1200" dirty="0"/>
              <a:t> e Instalação da Oi (Fixo, TV, Oi Total </a:t>
            </a:r>
            <a:r>
              <a:rPr lang="pt-BR" sz="1200" dirty="0" err="1"/>
              <a:t>etc</a:t>
            </a:r>
            <a:r>
              <a:rPr lang="pt-BR" sz="1200" dirty="0" smtClean="0"/>
              <a:t>), além do </a:t>
            </a:r>
            <a:r>
              <a:rPr lang="pt-BR" sz="1200" dirty="0"/>
              <a:t>engajamento das gerências relacionadas em tempo de especificação, a fim de garantir maior qualidade nos dados cadastrais na proposta no momento da venda </a:t>
            </a:r>
            <a:endParaRPr lang="pt-BR" sz="1200" dirty="0" smtClean="0"/>
          </a:p>
          <a:p>
            <a:pPr algn="just"/>
            <a:r>
              <a:rPr lang="pt-BR" sz="1200" dirty="0"/>
              <a:t>A contratação do BPO para o Design de regras e telas para o Programa 2 deve ser feita durante o Programa 1 para subsidiar a construção de motores de alarmes, casos, regras e telas diversas para tratamento e consulta, de forma a garantir que os extratores e integrações previstas no Programa 1 irão atender ao Programa 2 (</a:t>
            </a:r>
            <a:r>
              <a:rPr lang="pt-BR" sz="1200" dirty="0" err="1"/>
              <a:t>CRM´s</a:t>
            </a:r>
            <a:r>
              <a:rPr lang="pt-BR" sz="1200" dirty="0"/>
              <a:t>)</a:t>
            </a:r>
          </a:p>
          <a:p>
            <a:pPr algn="just"/>
            <a:endParaRPr lang="pt-BR" sz="1200" dirty="0"/>
          </a:p>
          <a:p>
            <a:pPr marL="0" indent="0">
              <a:buNone/>
            </a:pPr>
            <a:endParaRPr lang="pt-BR" b="1" dirty="0" smtClean="0"/>
          </a:p>
          <a:p>
            <a:pPr marL="0" indent="0">
              <a:buNone/>
            </a:pPr>
            <a:endParaRPr lang="pt-BR" b="1" dirty="0"/>
          </a:p>
        </p:txBody>
      </p:sp>
    </p:spTree>
    <p:extLst>
      <p:ext uri="{BB962C8B-B14F-4D97-AF65-F5344CB8AC3E}">
        <p14:creationId xmlns:p14="http://schemas.microsoft.com/office/powerpoint/2010/main" val="44988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.7O8T0QSuGU.DPG67I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9XeEHsREGvHCyL0cTJ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WNF1nMQ4iM50GTXU9M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3SqwvtRCqFj5sy3MAy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Oq8fHXRW6IHdnHhm2Jk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zTSCL8SvycbADVras8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wHSsj_RUiCjdHs9OLA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ApMDt9S0WTpY3TzP8Q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nt2bpdRf6qQgGFkXRSE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IXFW6NQ9K8vuKoqJQzY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KEBLD9TxW9pM.GutT_0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JxVGbflkiolOnscdDD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puWCz9kkm6pUAaNkzl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A_n81kTXyHwCunkvQB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f7nxWXmEm7k5Mmdvqsyg"/>
</p:tagLst>
</file>

<file path=ppt/theme/theme1.xml><?xml version="1.0" encoding="utf-8"?>
<a:theme xmlns:a="http://schemas.openxmlformats.org/drawingml/2006/main" name="1_Oi Mestr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3888B414-3C1C-4740-967E-F7D965A3710A}"/>
    </a:ext>
  </a:extLst>
</a:theme>
</file>

<file path=ppt/theme/theme10.xml><?xml version="1.0" encoding="utf-8"?>
<a:theme xmlns:a="http://schemas.openxmlformats.org/drawingml/2006/main" name="Storytelling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19F0CE3E-924C-BF47-8E15-551F6F598481}"/>
    </a:ext>
  </a:extLst>
</a:theme>
</file>

<file path=ppt/theme/theme11.xml><?xml version="1.0" encoding="utf-8"?>
<a:theme xmlns:a="http://schemas.openxmlformats.org/drawingml/2006/main" name="Storytelling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35E6E8C9-7A62-9846-A67A-BDAD60DD2850}"/>
    </a:ext>
  </a:extLst>
</a:theme>
</file>

<file path=ppt/theme/theme12.xml><?xml version="1.0" encoding="utf-8"?>
<a:theme xmlns:a="http://schemas.openxmlformats.org/drawingml/2006/main" name="Storytelling_Verd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CFE081ED-F88F-294B-8533-35BB9108FEC3}"/>
    </a:ext>
  </a:extLst>
</a:theme>
</file>

<file path=ppt/theme/theme13.xml><?xml version="1.0" encoding="utf-8"?>
<a:theme xmlns:a="http://schemas.openxmlformats.org/drawingml/2006/main" name="Storytelling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0F8AB69B-4A77-4B42-9C43-396A87215F53}"/>
    </a:ext>
  </a:extLst>
</a:theme>
</file>

<file path=ppt/theme/theme14.xml><?xml version="1.0" encoding="utf-8"?>
<a:theme xmlns:a="http://schemas.openxmlformats.org/drawingml/2006/main" name="105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110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6.xml><?xml version="1.0" encoding="utf-8"?>
<a:theme xmlns:a="http://schemas.openxmlformats.org/drawingml/2006/main" name="12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4FF4BE83-82FA-064E-BFC9-AB62B70F9021}"/>
    </a:ext>
  </a:extLst>
</a:theme>
</file>

<file path=ppt/theme/theme3.xml><?xml version="1.0" encoding="utf-8"?>
<a:theme xmlns:a="http://schemas.openxmlformats.org/drawingml/2006/main" name="1_Oi Mestr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60F32B61-8411-8E48-9B26-6A6D069F256C}"/>
    </a:ext>
  </a:extLst>
</a:theme>
</file>

<file path=ppt/theme/theme4.xml><?xml version="1.0" encoding="utf-8"?>
<a:theme xmlns:a="http://schemas.openxmlformats.org/drawingml/2006/main" name="Oi Mestre_Verd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rgbClr val="A02BFF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solidFill>
            <a:srgbClr val="A02BFF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5155BD69-B3E3-304F-B90C-2C6BFD0944D8}"/>
    </a:ext>
  </a:extLst>
</a:theme>
</file>

<file path=ppt/theme/theme5.xml><?xml version="1.0" encoding="utf-8"?>
<a:theme xmlns:a="http://schemas.openxmlformats.org/drawingml/2006/main" name="Oi Mestr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BCCE1D77-F4E3-854D-A692-0A2EABCBC089}"/>
    </a:ext>
  </a:extLst>
</a:theme>
</file>

<file path=ppt/theme/theme6.xml><?xml version="1.0" encoding="utf-8"?>
<a:theme xmlns:a="http://schemas.openxmlformats.org/drawingml/2006/main" name="Bas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9862C69E-F1D2-E340-8077-A1CDE14F9BAE}"/>
    </a:ext>
  </a:extLst>
</a:theme>
</file>

<file path=ppt/theme/theme7.xml><?xml version="1.0" encoding="utf-8"?>
<a:theme xmlns:a="http://schemas.openxmlformats.org/drawingml/2006/main" name="Base_Laranja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53BB9BD6-A25A-3847-8490-F711BA3F8238}"/>
    </a:ext>
  </a:extLst>
</a:theme>
</file>

<file path=ppt/theme/theme8.xml><?xml version="1.0" encoding="utf-8"?>
<a:theme xmlns:a="http://schemas.openxmlformats.org/drawingml/2006/main" name="Base_Verde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EF1135F4-72C4-8F4B-BD01-D471B8420023}"/>
    </a:ext>
  </a:extLst>
</a:theme>
</file>

<file path=ppt/theme/theme9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4" id="{61D9B774-AF9D-5243-B5B9-00A84C8902E2}" vid="{2A0133A5-2244-704F-87E3-FE26E72B135B}"/>
    </a:ext>
  </a:extLst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I xmlns="5379d0d5-9059-462a-bff1-b0aa6ec922fa" xsi:nil="true"/>
    <Nome_x0020_do_x0020_Projeto xmlns="5379d0d5-9059-462a-bff1-b0aa6ec922fa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F297E5A8403EB2478CA25BF3816D643E" ma:contentTypeVersion="2" ma:contentTypeDescription="Crie um novo documento." ma:contentTypeScope="" ma:versionID="c16c7d40342aea277b508b10aac3985b">
  <xsd:schema xmlns:xsd="http://www.w3.org/2001/XMLSchema" xmlns:xs="http://www.w3.org/2001/XMLSchema" xmlns:p="http://schemas.microsoft.com/office/2006/metadata/properties" xmlns:ns2="5379d0d5-9059-462a-bff1-b0aa6ec922fa" targetNamespace="http://schemas.microsoft.com/office/2006/metadata/properties" ma:root="true" ma:fieldsID="c9411c30d5438e194eb5a940aee12023" ns2:_="">
    <xsd:import namespace="5379d0d5-9059-462a-bff1-b0aa6ec922fa"/>
    <xsd:element name="properties">
      <xsd:complexType>
        <xsd:sequence>
          <xsd:element name="documentManagement">
            <xsd:complexType>
              <xsd:all>
                <xsd:element ref="ns2:Nome_x0020_do_x0020_Projeto" minOccurs="0"/>
                <xsd:element ref="ns2:STI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79d0d5-9059-462a-bff1-b0aa6ec922fa" elementFormDefault="qualified">
    <xsd:import namespace="http://schemas.microsoft.com/office/2006/documentManagement/types"/>
    <xsd:import namespace="http://schemas.microsoft.com/office/infopath/2007/PartnerControls"/>
    <xsd:element name="Nome_x0020_do_x0020_Projeto" ma:index="8" nillable="true" ma:displayName="Nome do Projeto" ma:description="NOME DO PROJETO" ma:internalName="Nome_x0020_do_x0020_Projeto">
      <xsd:simpleType>
        <xsd:restriction base="dms:Text">
          <xsd:maxLength value="255"/>
        </xsd:restriction>
      </xsd:simpleType>
    </xsd:element>
    <xsd:element name="STI" ma:index="9" nillable="true" ma:displayName="STI" ma:internalName="STI" ma:percentage="FALSE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EF3F9A0-4860-46CF-A0C5-90299908428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29D9287-D6A6-47E6-995E-D1F96158C30D}">
  <ds:schemaRefs>
    <ds:schemaRef ds:uri="http://purl.org/dc/terms/"/>
    <ds:schemaRef ds:uri="http://www.w3.org/XML/1998/namespace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5379d0d5-9059-462a-bff1-b0aa6ec922fa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70B6C727-2A1B-48F7-9526-04886E494B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379d0d5-9059-462a-bff1-b0aa6ec922f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i2016_template_v04</Template>
  <TotalTime>8685</TotalTime>
  <Words>1980</Words>
  <Application>Microsoft Office PowerPoint</Application>
  <PresentationFormat>Apresentação na tela (16:9)</PresentationFormat>
  <Paragraphs>384</Paragraphs>
  <Slides>13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16</vt:i4>
      </vt:variant>
      <vt:variant>
        <vt:lpstr>Tema</vt:lpstr>
      </vt:variant>
      <vt:variant>
        <vt:i4>16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13</vt:i4>
      </vt:variant>
    </vt:vector>
  </HeadingPairs>
  <TitlesOfParts>
    <vt:vector size="47" baseType="lpstr">
      <vt:lpstr>MS Gothic</vt:lpstr>
      <vt:lpstr>ＭＳ Ｐゴシック</vt:lpstr>
      <vt:lpstr>Arial</vt:lpstr>
      <vt:lpstr>Calibri</vt:lpstr>
      <vt:lpstr>Chronicle Text G1</vt:lpstr>
      <vt:lpstr>Georgia</vt:lpstr>
      <vt:lpstr>Museo Sans 300</vt:lpstr>
      <vt:lpstr>Museo Sans 700</vt:lpstr>
      <vt:lpstr>Simplon BP</vt:lpstr>
      <vt:lpstr>Simplon BP Bold</vt:lpstr>
      <vt:lpstr>Simplon BP Light</vt:lpstr>
      <vt:lpstr>Simplon BP Regular</vt:lpstr>
      <vt:lpstr>Simplon Oi Headline</vt:lpstr>
      <vt:lpstr>Times New Roman</vt:lpstr>
      <vt:lpstr>Verdana</vt:lpstr>
      <vt:lpstr>Wingdings</vt:lpstr>
      <vt:lpstr>1_Oi Mestre</vt:lpstr>
      <vt:lpstr>Oi Mestre_Roxo</vt:lpstr>
      <vt:lpstr>1_Oi Mestre_Laranja</vt:lpstr>
      <vt:lpstr>Oi Mestre_Verde</vt:lpstr>
      <vt:lpstr>Oi Mestre_Azul</vt:lpstr>
      <vt:lpstr>Base_Roxo</vt:lpstr>
      <vt:lpstr>Base_Laranja</vt:lpstr>
      <vt:lpstr>Base_Verde</vt:lpstr>
      <vt:lpstr>Base_Azul</vt:lpstr>
      <vt:lpstr>Storytelling_Roxo</vt:lpstr>
      <vt:lpstr>Storytelling_Laranja</vt:lpstr>
      <vt:lpstr>Storytelling_Verde</vt:lpstr>
      <vt:lpstr>Storytelling_Azul</vt:lpstr>
      <vt:lpstr>105_FBBR0598.TP.130513</vt:lpstr>
      <vt:lpstr>110_FBBR0598.TP.130513</vt:lpstr>
      <vt:lpstr>122_FBBR0598.TP.130513</vt:lpstr>
      <vt:lpstr>Slide do think-cell</vt:lpstr>
      <vt:lpstr>Gráfico</vt:lpstr>
      <vt:lpstr>Programa Novo Antifraude RAID-FMS  Projeto PRJ00024387</vt:lpstr>
      <vt:lpstr>Índice</vt:lpstr>
      <vt:lpstr>Apresentação do PowerPoint</vt:lpstr>
      <vt:lpstr>Objetivo, Necessidades e Benefícios </vt:lpstr>
      <vt:lpstr>Roadmap de Implantação</vt:lpstr>
      <vt:lpstr>Macro Entregas do Programa</vt:lpstr>
      <vt:lpstr>Core Team</vt:lpstr>
      <vt:lpstr>Visão Macro da Solução RAID-FMS</vt:lpstr>
      <vt:lpstr>Premissas e Restrições</vt:lpstr>
      <vt:lpstr>Riscos e Issues</vt:lpstr>
      <vt:lpstr>Comunicação</vt:lpstr>
      <vt:lpstr>Agenda de Reuniões</vt:lpstr>
      <vt:lpstr>Apresentação do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OVERNANÇA BÁSICA DE PROJETOS</dc:title>
  <dc:creator>Edja Mara De M Souza Mattar</dc:creator>
  <cp:lastModifiedBy>Usuário do Windows</cp:lastModifiedBy>
  <cp:revision>201</cp:revision>
  <cp:lastPrinted>2016-05-12T19:03:47Z</cp:lastPrinted>
  <dcterms:created xsi:type="dcterms:W3CDTF">2016-04-26T20:46:23Z</dcterms:created>
  <dcterms:modified xsi:type="dcterms:W3CDTF">2018-02-16T13:3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297E5A8403EB2478CA25BF3816D643E</vt:lpwstr>
  </property>
</Properties>
</file>